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fif" ContentType="image/jpeg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2.xml" ContentType="application/vnd.openxmlformats-officedocument.theme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0" r:id="rId4"/>
  </p:sldMasterIdLst>
  <p:notesMasterIdLst>
    <p:notesMasterId r:id="rId22"/>
  </p:notesMasterIdLst>
  <p:sldIdLst>
    <p:sldId id="4140" r:id="rId5"/>
    <p:sldId id="4145" r:id="rId6"/>
    <p:sldId id="4109" r:id="rId7"/>
    <p:sldId id="4132" r:id="rId8"/>
    <p:sldId id="4085" r:id="rId9"/>
    <p:sldId id="4129" r:id="rId10"/>
    <p:sldId id="4144" r:id="rId11"/>
    <p:sldId id="4130" r:id="rId12"/>
    <p:sldId id="4131" r:id="rId13"/>
    <p:sldId id="4133" r:id="rId14"/>
    <p:sldId id="4148" r:id="rId15"/>
    <p:sldId id="4146" r:id="rId16"/>
    <p:sldId id="4147" r:id="rId17"/>
    <p:sldId id="4135" r:id="rId18"/>
    <p:sldId id="4141" r:id="rId19"/>
    <p:sldId id="4142" r:id="rId20"/>
    <p:sldId id="4143" r:id="rId21"/>
  </p:sldIdLst>
  <p:sldSz cx="12192000" cy="6858000"/>
  <p:notesSz cx="6797675" cy="9928225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ption 1" id="{88D164A0-53EC-438E-88E1-18910ACECC2B}">
          <p14:sldIdLst>
            <p14:sldId id="4140"/>
            <p14:sldId id="4145"/>
            <p14:sldId id="4109"/>
            <p14:sldId id="4132"/>
            <p14:sldId id="4085"/>
            <p14:sldId id="4129"/>
            <p14:sldId id="4144"/>
            <p14:sldId id="4130"/>
            <p14:sldId id="4131"/>
            <p14:sldId id="4133"/>
            <p14:sldId id="4148"/>
            <p14:sldId id="4146"/>
            <p14:sldId id="4147"/>
            <p14:sldId id="4135"/>
            <p14:sldId id="4141"/>
            <p14:sldId id="4142"/>
            <p14:sldId id="414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4B"/>
    <a:srgbClr val="F0F0F0"/>
    <a:srgbClr val="999999"/>
    <a:srgbClr val="FF0064"/>
    <a:srgbClr val="FFAA00"/>
    <a:srgbClr val="00E6BE"/>
    <a:srgbClr val="F2F2F2"/>
    <a:srgbClr val="FCFCFD"/>
    <a:srgbClr val="F7F7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C64142-0B78-8E73-42DC-58766A0A9024}" v="48" dt="2023-08-14T18:59:34.160"/>
    <p1510:client id="{15E3EB0A-39DE-8B44-B94D-22D119DE47DB}" v="6" dt="2023-07-20T09:39:44.023"/>
    <p1510:client id="{27248BAF-627C-FF5A-89CC-0DD1072BA88E}" v="13" dt="2023-10-06T07:30:32.659"/>
    <p1510:client id="{28AD233A-6CBB-4E3D-0524-48FCD946AA8C}" v="2" dt="2023-10-06T09:23:24.486"/>
    <p1510:client id="{2F7DEE09-CF8E-4364-7127-296C030E9866}" v="1" dt="2023-09-14T06:10:47.668"/>
    <p1510:client id="{427EC8A0-783E-971A-424F-58729809FC22}" v="35" dt="2023-10-06T07:41:03.675"/>
    <p1510:client id="{4344B8B1-842A-939B-8AD8-D1F64116A9FF}" v="1" dt="2023-12-05T08:05:39.812"/>
    <p1510:client id="{6C3C1B72-38F6-ACB5-8A6B-338CEC06B230}" v="1" dt="2023-11-17T14:08:29.636"/>
    <p1510:client id="{A51A3393-BAF6-4064-A010-4AEADBD441B9}" v="1" dt="2023-10-06T09:26:55.740"/>
    <p1510:client id="{AC7E8F88-DD89-8368-BAE5-199D74D54A12}" v="2" dt="2023-10-06T09:25:29.184"/>
    <p1510:client id="{DA6B084F-3E5D-74E4-65E3-81966560F055}" v="1" dt="2023-11-17T14:35:32.057"/>
    <p1510:client id="{E673E128-3344-259A-AA8E-0FD3054D94DC}" v="2" dt="2023-11-17T14:31:13.790"/>
    <p1510:client id="{E9856274-3CFF-E65D-2AF2-950E0FAD28EC}" v="5" dt="2023-10-06T09:21:08.395"/>
    <p1510:client id="{F6E59F83-AE5E-5205-D90C-04B9472ECFFF}" v="1" dt="2023-09-05T17:11:41.6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66" autoAdjust="0"/>
    <p:restoredTop sz="94660"/>
  </p:normalViewPr>
  <p:slideViewPr>
    <p:cSldViewPr snapToGrid="0">
      <p:cViewPr varScale="1">
        <p:scale>
          <a:sx n="78" d="100"/>
          <a:sy n="78" d="100"/>
        </p:scale>
        <p:origin x="120" y="-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wlekar Swapnil INPU" userId="S::swapnil_fce.rawlekar@syngenta.com::c406a373-5fe1-43dc-8b05-fd8f6aa50f5e" providerId="AD" clId="Web-{AC7E8F88-DD89-8368-BAE5-199D74D54A12}"/>
    <pc:docChg chg="modSld">
      <pc:chgData name="Rawlekar Swapnil INPU" userId="S::swapnil_fce.rawlekar@syngenta.com::c406a373-5fe1-43dc-8b05-fd8f6aa50f5e" providerId="AD" clId="Web-{AC7E8F88-DD89-8368-BAE5-199D74D54A12}" dt="2023-10-06T09:25:29.184" v="1" actId="20577"/>
      <pc:docMkLst>
        <pc:docMk/>
      </pc:docMkLst>
      <pc:sldChg chg="modSp">
        <pc:chgData name="Rawlekar Swapnil INPU" userId="S::swapnil_fce.rawlekar@syngenta.com::c406a373-5fe1-43dc-8b05-fd8f6aa50f5e" providerId="AD" clId="Web-{AC7E8F88-DD89-8368-BAE5-199D74D54A12}" dt="2023-10-06T09:25:29.184" v="1" actId="20577"/>
        <pc:sldMkLst>
          <pc:docMk/>
          <pc:sldMk cId="1817694191" sldId="4110"/>
        </pc:sldMkLst>
        <pc:spChg chg="mod">
          <ac:chgData name="Rawlekar Swapnil INPU" userId="S::swapnil_fce.rawlekar@syngenta.com::c406a373-5fe1-43dc-8b05-fd8f6aa50f5e" providerId="AD" clId="Web-{AC7E8F88-DD89-8368-BAE5-199D74D54A12}" dt="2023-10-06T09:25:27.981" v="0" actId="20577"/>
          <ac:spMkLst>
            <pc:docMk/>
            <pc:sldMk cId="1817694191" sldId="4110"/>
            <ac:spMk id="2" creationId="{CE5B78B0-E389-A658-3238-4D7E4E6BDC9F}"/>
          </ac:spMkLst>
        </pc:spChg>
        <pc:spChg chg="mod">
          <ac:chgData name="Rawlekar Swapnil INPU" userId="S::swapnil_fce.rawlekar@syngenta.com::c406a373-5fe1-43dc-8b05-fd8f6aa50f5e" providerId="AD" clId="Web-{AC7E8F88-DD89-8368-BAE5-199D74D54A12}" dt="2023-10-06T09:25:29.184" v="1" actId="20577"/>
          <ac:spMkLst>
            <pc:docMk/>
            <pc:sldMk cId="1817694191" sldId="4110"/>
            <ac:spMk id="3" creationId="{8DEBF722-2A8C-0CA5-E3EA-A02B31EED82D}"/>
          </ac:spMkLst>
        </pc:spChg>
      </pc:sldChg>
    </pc:docChg>
  </pc:docChgLst>
  <pc:docChgLst>
    <pc:chgData name="Correia Catarina CHBS" userId="S::catarina.correia@syngenta.com::68382206-0a9e-42f5-89a0-e010c65991bc" providerId="AD" clId="Web-{E673E128-3344-259A-AA8E-0FD3054D94DC}"/>
    <pc:docChg chg="modSld">
      <pc:chgData name="Correia Catarina CHBS" userId="S::catarina.correia@syngenta.com::68382206-0a9e-42f5-89a0-e010c65991bc" providerId="AD" clId="Web-{E673E128-3344-259A-AA8E-0FD3054D94DC}" dt="2023-11-17T14:31:13.790" v="1" actId="1076"/>
      <pc:docMkLst>
        <pc:docMk/>
      </pc:docMkLst>
      <pc:sldChg chg="addSp modSp">
        <pc:chgData name="Correia Catarina CHBS" userId="S::catarina.correia@syngenta.com::68382206-0a9e-42f5-89a0-e010c65991bc" providerId="AD" clId="Web-{E673E128-3344-259A-AA8E-0FD3054D94DC}" dt="2023-11-17T14:31:13.790" v="1" actId="1076"/>
        <pc:sldMkLst>
          <pc:docMk/>
          <pc:sldMk cId="3418172053" sldId="4108"/>
        </pc:sldMkLst>
        <pc:picChg chg="add mod">
          <ac:chgData name="Correia Catarina CHBS" userId="S::catarina.correia@syngenta.com::68382206-0a9e-42f5-89a0-e010c65991bc" providerId="AD" clId="Web-{E673E128-3344-259A-AA8E-0FD3054D94DC}" dt="2023-11-17T14:31:13.790" v="1" actId="1076"/>
          <ac:picMkLst>
            <pc:docMk/>
            <pc:sldMk cId="3418172053" sldId="4108"/>
            <ac:picMk id="6" creationId="{E1A114FA-08BC-AB6C-702F-DF40ACAC5E4D}"/>
          </ac:picMkLst>
        </pc:picChg>
      </pc:sldChg>
    </pc:docChg>
  </pc:docChgLst>
  <pc:docChgLst>
    <pc:chgData name="Rawlekar Swapnil INPU" userId="S::swapnil_fce.rawlekar@syngenta.com::c406a373-5fe1-43dc-8b05-fd8f6aa50f5e" providerId="AD" clId="Web-{A51A3393-BAF6-4064-A010-4AEADBD441B9}"/>
    <pc:docChg chg="modSld">
      <pc:chgData name="Rawlekar Swapnil INPU" userId="S::swapnil_fce.rawlekar@syngenta.com::c406a373-5fe1-43dc-8b05-fd8f6aa50f5e" providerId="AD" clId="Web-{A51A3393-BAF6-4064-A010-4AEADBD441B9}" dt="2023-10-06T09:26:55.740" v="0" actId="20577"/>
      <pc:docMkLst>
        <pc:docMk/>
      </pc:docMkLst>
      <pc:sldChg chg="modSp">
        <pc:chgData name="Rawlekar Swapnil INPU" userId="S::swapnil_fce.rawlekar@syngenta.com::c406a373-5fe1-43dc-8b05-fd8f6aa50f5e" providerId="AD" clId="Web-{A51A3393-BAF6-4064-A010-4AEADBD441B9}" dt="2023-10-06T09:26:55.740" v="0" actId="20577"/>
        <pc:sldMkLst>
          <pc:docMk/>
          <pc:sldMk cId="1817694191" sldId="4110"/>
        </pc:sldMkLst>
        <pc:spChg chg="mod">
          <ac:chgData name="Rawlekar Swapnil INPU" userId="S::swapnil_fce.rawlekar@syngenta.com::c406a373-5fe1-43dc-8b05-fd8f6aa50f5e" providerId="AD" clId="Web-{A51A3393-BAF6-4064-A010-4AEADBD441B9}" dt="2023-10-06T09:26:55.740" v="0" actId="20577"/>
          <ac:spMkLst>
            <pc:docMk/>
            <pc:sldMk cId="1817694191" sldId="4110"/>
            <ac:spMk id="2" creationId="{CE5B78B0-E389-A658-3238-4D7E4E6BDC9F}"/>
          </ac:spMkLst>
        </pc:spChg>
      </pc:sldChg>
    </pc:docChg>
  </pc:docChgLst>
  <pc:docChgLst>
    <pc:chgData name="Rawlekar Swapnil INPU" userId="S::swapnil_fce.rawlekar@syngenta.com::c406a373-5fe1-43dc-8b05-fd8f6aa50f5e" providerId="AD" clId="Web-{27248BAF-627C-FF5A-89CC-0DD1072BA88E}"/>
    <pc:docChg chg="modSld">
      <pc:chgData name="Rawlekar Swapnil INPU" userId="S::swapnil_fce.rawlekar@syngenta.com::c406a373-5fe1-43dc-8b05-fd8f6aa50f5e" providerId="AD" clId="Web-{27248BAF-627C-FF5A-89CC-0DD1072BA88E}" dt="2023-10-06T07:30:32.659" v="11"/>
      <pc:docMkLst>
        <pc:docMk/>
      </pc:docMkLst>
      <pc:sldChg chg="addSp delSp modSp">
        <pc:chgData name="Rawlekar Swapnil INPU" userId="S::swapnil_fce.rawlekar@syngenta.com::c406a373-5fe1-43dc-8b05-fd8f6aa50f5e" providerId="AD" clId="Web-{27248BAF-627C-FF5A-89CC-0DD1072BA88E}" dt="2023-10-06T07:30:32.659" v="11"/>
        <pc:sldMkLst>
          <pc:docMk/>
          <pc:sldMk cId="1817694191" sldId="4110"/>
        </pc:sldMkLst>
        <pc:spChg chg="mod">
          <ac:chgData name="Rawlekar Swapnil INPU" userId="S::swapnil_fce.rawlekar@syngenta.com::c406a373-5fe1-43dc-8b05-fd8f6aa50f5e" providerId="AD" clId="Web-{27248BAF-627C-FF5A-89CC-0DD1072BA88E}" dt="2023-10-06T07:30:32.534" v="9" actId="14100"/>
          <ac:spMkLst>
            <pc:docMk/>
            <pc:sldMk cId="1817694191" sldId="4110"/>
            <ac:spMk id="2" creationId="{CE5B78B0-E389-A658-3238-4D7E4E6BDC9F}"/>
          </ac:spMkLst>
        </pc:spChg>
        <pc:spChg chg="mod">
          <ac:chgData name="Rawlekar Swapnil INPU" userId="S::swapnil_fce.rawlekar@syngenta.com::c406a373-5fe1-43dc-8b05-fd8f6aa50f5e" providerId="AD" clId="Web-{27248BAF-627C-FF5A-89CC-0DD1072BA88E}" dt="2023-10-06T07:29:11.016" v="8" actId="20577"/>
          <ac:spMkLst>
            <pc:docMk/>
            <pc:sldMk cId="1817694191" sldId="4110"/>
            <ac:spMk id="3" creationId="{8DEBF722-2A8C-0CA5-E3EA-A02B31EED82D}"/>
          </ac:spMkLst>
        </pc:spChg>
        <pc:spChg chg="add del mod">
          <ac:chgData name="Rawlekar Swapnil INPU" userId="S::swapnil_fce.rawlekar@syngenta.com::c406a373-5fe1-43dc-8b05-fd8f6aa50f5e" providerId="AD" clId="Web-{27248BAF-627C-FF5A-89CC-0DD1072BA88E}" dt="2023-10-06T07:30:32.659" v="11"/>
          <ac:spMkLst>
            <pc:docMk/>
            <pc:sldMk cId="1817694191" sldId="4110"/>
            <ac:spMk id="8" creationId="{E619F43B-6D26-22CC-841F-5B6B28A64870}"/>
          </ac:spMkLst>
        </pc:spChg>
        <pc:picChg chg="add del">
          <ac:chgData name="Rawlekar Swapnil INPU" userId="S::swapnil_fce.rawlekar@syngenta.com::c406a373-5fe1-43dc-8b05-fd8f6aa50f5e" providerId="AD" clId="Web-{27248BAF-627C-FF5A-89CC-0DD1072BA88E}" dt="2023-10-06T07:30:32.659" v="11"/>
          <ac:picMkLst>
            <pc:docMk/>
            <pc:sldMk cId="1817694191" sldId="4110"/>
            <ac:picMk id="7" creationId="{2E722EAF-5858-8497-5DC5-5839569F917D}"/>
          </ac:picMkLst>
        </pc:picChg>
      </pc:sldChg>
    </pc:docChg>
  </pc:docChgLst>
  <pc:docChgLst>
    <pc:chgData name="Correia Catarina CHBS" userId="S::catarina.correia@syngenta.com::68382206-0a9e-42f5-89a0-e010c65991bc" providerId="AD" clId="Web-{DA6B084F-3E5D-74E4-65E3-81966560F055}"/>
    <pc:docChg chg="modSld">
      <pc:chgData name="Correia Catarina CHBS" userId="S::catarina.correia@syngenta.com::68382206-0a9e-42f5-89a0-e010c65991bc" providerId="AD" clId="Web-{DA6B084F-3E5D-74E4-65E3-81966560F055}" dt="2023-11-17T14:35:32.057" v="0"/>
      <pc:docMkLst>
        <pc:docMk/>
      </pc:docMkLst>
      <pc:sldChg chg="modSp">
        <pc:chgData name="Correia Catarina CHBS" userId="S::catarina.correia@syngenta.com::68382206-0a9e-42f5-89a0-e010c65991bc" providerId="AD" clId="Web-{DA6B084F-3E5D-74E4-65E3-81966560F055}" dt="2023-11-17T14:35:32.057" v="0"/>
        <pc:sldMkLst>
          <pc:docMk/>
          <pc:sldMk cId="2831220323" sldId="4033"/>
        </pc:sldMkLst>
        <pc:picChg chg="mod">
          <ac:chgData name="Correia Catarina CHBS" userId="S::catarina.correia@syngenta.com::68382206-0a9e-42f5-89a0-e010c65991bc" providerId="AD" clId="Web-{DA6B084F-3E5D-74E4-65E3-81966560F055}" dt="2023-11-17T14:35:32.057" v="0"/>
          <ac:picMkLst>
            <pc:docMk/>
            <pc:sldMk cId="2831220323" sldId="4033"/>
            <ac:picMk id="90" creationId="{7420E699-197E-E5DD-A778-1EBD6609F3E8}"/>
          </ac:picMkLst>
        </pc:picChg>
      </pc:sldChg>
    </pc:docChg>
  </pc:docChgLst>
  <pc:docChgLst>
    <pc:chgData name="Rawlekar Swapnil INPU" userId="S::swapnil_fce.rawlekar@syngenta.com::c406a373-5fe1-43dc-8b05-fd8f6aa50f5e" providerId="AD" clId="Web-{E9856274-3CFF-E65D-2AF2-950E0FAD28EC}"/>
    <pc:docChg chg="modSld">
      <pc:chgData name="Rawlekar Swapnil INPU" userId="S::swapnil_fce.rawlekar@syngenta.com::c406a373-5fe1-43dc-8b05-fd8f6aa50f5e" providerId="AD" clId="Web-{E9856274-3CFF-E65D-2AF2-950E0FAD28EC}" dt="2023-10-06T09:21:08.395" v="4"/>
      <pc:docMkLst>
        <pc:docMk/>
      </pc:docMkLst>
      <pc:sldChg chg="addSp delSp modSp">
        <pc:chgData name="Rawlekar Swapnil INPU" userId="S::swapnil_fce.rawlekar@syngenta.com::c406a373-5fe1-43dc-8b05-fd8f6aa50f5e" providerId="AD" clId="Web-{E9856274-3CFF-E65D-2AF2-950E0FAD28EC}" dt="2023-10-06T09:21:08.395" v="4"/>
        <pc:sldMkLst>
          <pc:docMk/>
          <pc:sldMk cId="2554447836" sldId="4090"/>
        </pc:sldMkLst>
        <pc:spChg chg="del">
          <ac:chgData name="Rawlekar Swapnil INPU" userId="S::swapnil_fce.rawlekar@syngenta.com::c406a373-5fe1-43dc-8b05-fd8f6aa50f5e" providerId="AD" clId="Web-{E9856274-3CFF-E65D-2AF2-950E0FAD28EC}" dt="2023-10-06T09:21:08.395" v="4"/>
          <ac:spMkLst>
            <pc:docMk/>
            <pc:sldMk cId="2554447836" sldId="4090"/>
            <ac:spMk id="6" creationId="{8BCC0E29-228B-BF35-E0AC-05E1C061B040}"/>
          </ac:spMkLst>
        </pc:spChg>
        <pc:picChg chg="add mod ord">
          <ac:chgData name="Rawlekar Swapnil INPU" userId="S::swapnil_fce.rawlekar@syngenta.com::c406a373-5fe1-43dc-8b05-fd8f6aa50f5e" providerId="AD" clId="Web-{E9856274-3CFF-E65D-2AF2-950E0FAD28EC}" dt="2023-10-06T09:21:08.395" v="4"/>
          <ac:picMkLst>
            <pc:docMk/>
            <pc:sldMk cId="2554447836" sldId="4090"/>
            <ac:picMk id="8" creationId="{F539AE06-DA12-7847-0055-943ACA4A5387}"/>
          </ac:picMkLst>
        </pc:picChg>
      </pc:sldChg>
      <pc:sldChg chg="addSp delSp modSp">
        <pc:chgData name="Rawlekar Swapnil INPU" userId="S::swapnil_fce.rawlekar@syngenta.com::c406a373-5fe1-43dc-8b05-fd8f6aa50f5e" providerId="AD" clId="Web-{E9856274-3CFF-E65D-2AF2-950E0FAD28EC}" dt="2023-10-06T09:21:07.567" v="3"/>
        <pc:sldMkLst>
          <pc:docMk/>
          <pc:sldMk cId="2418797095" sldId="4092"/>
        </pc:sldMkLst>
        <pc:spChg chg="del">
          <ac:chgData name="Rawlekar Swapnil INPU" userId="S::swapnil_fce.rawlekar@syngenta.com::c406a373-5fe1-43dc-8b05-fd8f6aa50f5e" providerId="AD" clId="Web-{E9856274-3CFF-E65D-2AF2-950E0FAD28EC}" dt="2023-10-06T09:21:07.567" v="3"/>
          <ac:spMkLst>
            <pc:docMk/>
            <pc:sldMk cId="2418797095" sldId="4092"/>
            <ac:spMk id="7" creationId="{1823EB2A-392D-8F23-A14A-8EBF7ADD5580}"/>
          </ac:spMkLst>
        </pc:spChg>
        <pc:picChg chg="add mod ord">
          <ac:chgData name="Rawlekar Swapnil INPU" userId="S::swapnil_fce.rawlekar@syngenta.com::c406a373-5fe1-43dc-8b05-fd8f6aa50f5e" providerId="AD" clId="Web-{E9856274-3CFF-E65D-2AF2-950E0FAD28EC}" dt="2023-10-06T09:21:07.567" v="3"/>
          <ac:picMkLst>
            <pc:docMk/>
            <pc:sldMk cId="2418797095" sldId="4092"/>
            <ac:picMk id="10" creationId="{82AD3371-1D88-6A7C-A009-3A1A877F788B}"/>
          </ac:picMkLst>
        </pc:picChg>
      </pc:sldChg>
      <pc:sldChg chg="modSp">
        <pc:chgData name="Rawlekar Swapnil INPU" userId="S::swapnil_fce.rawlekar@syngenta.com::c406a373-5fe1-43dc-8b05-fd8f6aa50f5e" providerId="AD" clId="Web-{E9856274-3CFF-E65D-2AF2-950E0FAD28EC}" dt="2023-10-06T09:18:16.781" v="2" actId="14100"/>
        <pc:sldMkLst>
          <pc:docMk/>
          <pc:sldMk cId="1817694191" sldId="4110"/>
        </pc:sldMkLst>
        <pc:picChg chg="mod">
          <ac:chgData name="Rawlekar Swapnil INPU" userId="S::swapnil_fce.rawlekar@syngenta.com::c406a373-5fe1-43dc-8b05-fd8f6aa50f5e" providerId="AD" clId="Web-{E9856274-3CFF-E65D-2AF2-950E0FAD28EC}" dt="2023-10-06T09:18:16.781" v="2" actId="14100"/>
          <ac:picMkLst>
            <pc:docMk/>
            <pc:sldMk cId="1817694191" sldId="4110"/>
            <ac:picMk id="13" creationId="{4DE065E5-087A-8384-9ADD-966F884D1CD3}"/>
          </ac:picMkLst>
        </pc:picChg>
      </pc:sldChg>
    </pc:docChg>
  </pc:docChgLst>
  <pc:docChgLst>
    <pc:chgData name="Correia Catarina CHBS" userId="S::catarina.correia@syngenta.com::68382206-0a9e-42f5-89a0-e010c65991bc" providerId="AD" clId="Web-{4344B8B1-842A-939B-8AD8-D1F64116A9FF}"/>
    <pc:docChg chg="modSld">
      <pc:chgData name="Correia Catarina CHBS" userId="S::catarina.correia@syngenta.com::68382206-0a9e-42f5-89a0-e010c65991bc" providerId="AD" clId="Web-{4344B8B1-842A-939B-8AD8-D1F64116A9FF}" dt="2023-12-05T08:05:39.812" v="0" actId="1076"/>
      <pc:docMkLst>
        <pc:docMk/>
      </pc:docMkLst>
      <pc:sldChg chg="modSp">
        <pc:chgData name="Correia Catarina CHBS" userId="S::catarina.correia@syngenta.com::68382206-0a9e-42f5-89a0-e010c65991bc" providerId="AD" clId="Web-{4344B8B1-842A-939B-8AD8-D1F64116A9FF}" dt="2023-12-05T08:05:39.812" v="0" actId="1076"/>
        <pc:sldMkLst>
          <pc:docMk/>
          <pc:sldMk cId="2120114329" sldId="4054"/>
        </pc:sldMkLst>
        <pc:spChg chg="mod">
          <ac:chgData name="Correia Catarina CHBS" userId="S::catarina.correia@syngenta.com::68382206-0a9e-42f5-89a0-e010c65991bc" providerId="AD" clId="Web-{4344B8B1-842A-939B-8AD8-D1F64116A9FF}" dt="2023-12-05T08:05:39.812" v="0" actId="1076"/>
          <ac:spMkLst>
            <pc:docMk/>
            <pc:sldMk cId="2120114329" sldId="4054"/>
            <ac:spMk id="6" creationId="{06FF455B-5645-19DA-FC82-E3A18F0061E9}"/>
          </ac:spMkLst>
        </pc:spChg>
      </pc:sldChg>
    </pc:docChg>
  </pc:docChgLst>
  <pc:docChgLst>
    <pc:chgData name="Carvalho Diogo BRBH" userId="S::diogo.carvalho@syngenta.com::bf4d8e25-58fc-4067-928f-6e2d32a77602" providerId="AD" clId="Web-{F6E59F83-AE5E-5205-D90C-04B9472ECFFF}"/>
    <pc:docChg chg="modSld">
      <pc:chgData name="Carvalho Diogo BRBH" userId="S::diogo.carvalho@syngenta.com::bf4d8e25-58fc-4067-928f-6e2d32a77602" providerId="AD" clId="Web-{F6E59F83-AE5E-5205-D90C-04B9472ECFFF}" dt="2023-09-05T17:11:41.610" v="0" actId="20577"/>
      <pc:docMkLst>
        <pc:docMk/>
      </pc:docMkLst>
      <pc:sldChg chg="modSp">
        <pc:chgData name="Carvalho Diogo BRBH" userId="S::diogo.carvalho@syngenta.com::bf4d8e25-58fc-4067-928f-6e2d32a77602" providerId="AD" clId="Web-{F6E59F83-AE5E-5205-D90C-04B9472ECFFF}" dt="2023-09-05T17:11:41.610" v="0" actId="20577"/>
        <pc:sldMkLst>
          <pc:docMk/>
          <pc:sldMk cId="1817694191" sldId="4110"/>
        </pc:sldMkLst>
        <pc:spChg chg="mod">
          <ac:chgData name="Carvalho Diogo BRBH" userId="S::diogo.carvalho@syngenta.com::bf4d8e25-58fc-4067-928f-6e2d32a77602" providerId="AD" clId="Web-{F6E59F83-AE5E-5205-D90C-04B9472ECFFF}" dt="2023-09-05T17:11:41.610" v="0" actId="20577"/>
          <ac:spMkLst>
            <pc:docMk/>
            <pc:sldMk cId="1817694191" sldId="4110"/>
            <ac:spMk id="2" creationId="{CE5B78B0-E389-A658-3238-4D7E4E6BDC9F}"/>
          </ac:spMkLst>
        </pc:spChg>
      </pc:sldChg>
    </pc:docChg>
  </pc:docChgLst>
  <pc:docChgLst>
    <pc:chgData name="Borba Amanda DEFM" userId="d7fe8b1d-f8e3-406a-ad19-96861d8b30e8" providerId="ADAL" clId="{15E3EB0A-39DE-8B44-B94D-22D119DE47DB}"/>
    <pc:docChg chg="modSld">
      <pc:chgData name="Borba Amanda DEFM" userId="d7fe8b1d-f8e3-406a-ad19-96861d8b30e8" providerId="ADAL" clId="{15E3EB0A-39DE-8B44-B94D-22D119DE47DB}" dt="2023-07-20T09:39:44.023" v="1" actId="27803"/>
      <pc:docMkLst>
        <pc:docMk/>
      </pc:docMkLst>
      <pc:sldChg chg="addSp delSp modSp">
        <pc:chgData name="Borba Amanda DEFM" userId="d7fe8b1d-f8e3-406a-ad19-96861d8b30e8" providerId="ADAL" clId="{15E3EB0A-39DE-8B44-B94D-22D119DE47DB}" dt="2023-07-20T09:39:44.023" v="1" actId="27803"/>
        <pc:sldMkLst>
          <pc:docMk/>
          <pc:sldMk cId="2831220323" sldId="4033"/>
        </pc:sldMkLst>
        <pc:spChg chg="mod">
          <ac:chgData name="Borba Amanda DEFM" userId="d7fe8b1d-f8e3-406a-ad19-96861d8b30e8" providerId="ADAL" clId="{15E3EB0A-39DE-8B44-B94D-22D119DE47DB}" dt="2023-07-20T09:39:39.019" v="0" actId="27803"/>
          <ac:spMkLst>
            <pc:docMk/>
            <pc:sldMk cId="2831220323" sldId="4033"/>
            <ac:spMk id="6" creationId="{21612AB0-28B8-9942-506A-34C987C1806B}"/>
          </ac:spMkLst>
        </pc:spChg>
        <pc:spChg chg="mod">
          <ac:chgData name="Borba Amanda DEFM" userId="d7fe8b1d-f8e3-406a-ad19-96861d8b30e8" providerId="ADAL" clId="{15E3EB0A-39DE-8B44-B94D-22D119DE47DB}" dt="2023-07-20T09:39:39.019" v="0" actId="27803"/>
          <ac:spMkLst>
            <pc:docMk/>
            <pc:sldMk cId="2831220323" sldId="4033"/>
            <ac:spMk id="8" creationId="{400F1264-5F1A-AD09-791F-F78DE1507833}"/>
          </ac:spMkLst>
        </pc:spChg>
        <pc:spChg chg="mod">
          <ac:chgData name="Borba Amanda DEFM" userId="d7fe8b1d-f8e3-406a-ad19-96861d8b30e8" providerId="ADAL" clId="{15E3EB0A-39DE-8B44-B94D-22D119DE47DB}" dt="2023-07-20T09:39:39.019" v="0" actId="27803"/>
          <ac:spMkLst>
            <pc:docMk/>
            <pc:sldMk cId="2831220323" sldId="4033"/>
            <ac:spMk id="12" creationId="{3C1E82B7-FD6A-9E81-7BB8-612EA6B4ABB5}"/>
          </ac:spMkLst>
        </pc:spChg>
        <pc:spChg chg="mod">
          <ac:chgData name="Borba Amanda DEFM" userId="d7fe8b1d-f8e3-406a-ad19-96861d8b30e8" providerId="ADAL" clId="{15E3EB0A-39DE-8B44-B94D-22D119DE47DB}" dt="2023-07-20T09:39:39.019" v="0" actId="27803"/>
          <ac:spMkLst>
            <pc:docMk/>
            <pc:sldMk cId="2831220323" sldId="4033"/>
            <ac:spMk id="13" creationId="{4663E376-6658-587E-6AA9-DF5C76914C98}"/>
          </ac:spMkLst>
        </pc:spChg>
        <pc:grpChg chg="mod">
          <ac:chgData name="Borba Amanda DEFM" userId="d7fe8b1d-f8e3-406a-ad19-96861d8b30e8" providerId="ADAL" clId="{15E3EB0A-39DE-8B44-B94D-22D119DE47DB}" dt="2023-07-20T09:39:39.019" v="0" actId="27803"/>
          <ac:grpSpMkLst>
            <pc:docMk/>
            <pc:sldMk cId="2831220323" sldId="4033"/>
            <ac:grpSpMk id="4" creationId="{95F94990-6710-CE8C-3E4E-0D419C9797E4}"/>
          </ac:grpSpMkLst>
        </pc:grpChg>
        <pc:picChg chg="add del">
          <ac:chgData name="Borba Amanda DEFM" userId="d7fe8b1d-f8e3-406a-ad19-96861d8b30e8" providerId="ADAL" clId="{15E3EB0A-39DE-8B44-B94D-22D119DE47DB}" dt="2023-07-20T09:39:44.023" v="1" actId="27803"/>
          <ac:picMkLst>
            <pc:docMk/>
            <pc:sldMk cId="2831220323" sldId="4033"/>
            <ac:picMk id="106" creationId="{74D044F2-6F64-001C-EB37-536E949108E2}"/>
          </ac:picMkLst>
        </pc:picChg>
      </pc:sldChg>
    </pc:docChg>
  </pc:docChgLst>
  <pc:docChgLst>
    <pc:chgData name="Rawlekar Swapnil INPU" userId="S::swapnil_fce.rawlekar@syngenta.com::c406a373-5fe1-43dc-8b05-fd8f6aa50f5e" providerId="AD" clId="Web-{427EC8A0-783E-971A-424F-58729809FC22}"/>
    <pc:docChg chg="modSld">
      <pc:chgData name="Rawlekar Swapnil INPU" userId="S::swapnil_fce.rawlekar@syngenta.com::c406a373-5fe1-43dc-8b05-fd8f6aa50f5e" providerId="AD" clId="Web-{427EC8A0-783E-971A-424F-58729809FC22}" dt="2023-10-06T07:41:03.675" v="30"/>
      <pc:docMkLst>
        <pc:docMk/>
      </pc:docMkLst>
      <pc:sldChg chg="addSp delSp modSp">
        <pc:chgData name="Rawlekar Swapnil INPU" userId="S::swapnil_fce.rawlekar@syngenta.com::c406a373-5fe1-43dc-8b05-fd8f6aa50f5e" providerId="AD" clId="Web-{427EC8A0-783E-971A-424F-58729809FC22}" dt="2023-10-06T07:41:03.675" v="30"/>
        <pc:sldMkLst>
          <pc:docMk/>
          <pc:sldMk cId="1817694191" sldId="4110"/>
        </pc:sldMkLst>
        <pc:spChg chg="mod">
          <ac:chgData name="Rawlekar Swapnil INPU" userId="S::swapnil_fce.rawlekar@syngenta.com::c406a373-5fe1-43dc-8b05-fd8f6aa50f5e" providerId="AD" clId="Web-{427EC8A0-783E-971A-424F-58729809FC22}" dt="2023-10-06T07:35:58.069" v="15" actId="20577"/>
          <ac:spMkLst>
            <pc:docMk/>
            <pc:sldMk cId="1817694191" sldId="4110"/>
            <ac:spMk id="2" creationId="{CE5B78B0-E389-A658-3238-4D7E4E6BDC9F}"/>
          </ac:spMkLst>
        </pc:spChg>
        <pc:spChg chg="mod">
          <ac:chgData name="Rawlekar Swapnil INPU" userId="S::swapnil_fce.rawlekar@syngenta.com::c406a373-5fe1-43dc-8b05-fd8f6aa50f5e" providerId="AD" clId="Web-{427EC8A0-783E-971A-424F-58729809FC22}" dt="2023-10-06T07:35:48.178" v="7" actId="20577"/>
          <ac:spMkLst>
            <pc:docMk/>
            <pc:sldMk cId="1817694191" sldId="4110"/>
            <ac:spMk id="3" creationId="{8DEBF722-2A8C-0CA5-E3EA-A02B31EED82D}"/>
          </ac:spMkLst>
        </pc:spChg>
        <pc:spChg chg="add del mod">
          <ac:chgData name="Rawlekar Swapnil INPU" userId="S::swapnil_fce.rawlekar@syngenta.com::c406a373-5fe1-43dc-8b05-fd8f6aa50f5e" providerId="AD" clId="Web-{427EC8A0-783E-971A-424F-58729809FC22}" dt="2023-10-06T07:37:38.636" v="20"/>
          <ac:spMkLst>
            <pc:docMk/>
            <pc:sldMk cId="1817694191" sldId="4110"/>
            <ac:spMk id="8" creationId="{F876421B-D0DD-31A6-DCBF-D5C5114316A8}"/>
          </ac:spMkLst>
        </pc:spChg>
        <pc:spChg chg="add del mod">
          <ac:chgData name="Rawlekar Swapnil INPU" userId="S::swapnil_fce.rawlekar@syngenta.com::c406a373-5fe1-43dc-8b05-fd8f6aa50f5e" providerId="AD" clId="Web-{427EC8A0-783E-971A-424F-58729809FC22}" dt="2023-10-06T07:38:35.607" v="24"/>
          <ac:spMkLst>
            <pc:docMk/>
            <pc:sldMk cId="1817694191" sldId="4110"/>
            <ac:spMk id="12" creationId="{959A318B-9F86-1F19-5170-C0EAEDF0AECD}"/>
          </ac:spMkLst>
        </pc:spChg>
        <pc:picChg chg="del mod">
          <ac:chgData name="Rawlekar Swapnil INPU" userId="S::swapnil_fce.rawlekar@syngenta.com::c406a373-5fe1-43dc-8b05-fd8f6aa50f5e" providerId="AD" clId="Web-{427EC8A0-783E-971A-424F-58729809FC22}" dt="2023-10-06T07:37:11.134" v="19"/>
          <ac:picMkLst>
            <pc:docMk/>
            <pc:sldMk cId="1817694191" sldId="4110"/>
            <ac:picMk id="7" creationId="{2E722EAF-5858-8497-5DC5-5839569F917D}"/>
          </ac:picMkLst>
        </pc:picChg>
        <pc:picChg chg="add del mod ord modCrop">
          <ac:chgData name="Rawlekar Swapnil INPU" userId="S::swapnil_fce.rawlekar@syngenta.com::c406a373-5fe1-43dc-8b05-fd8f6aa50f5e" providerId="AD" clId="Web-{427EC8A0-783E-971A-424F-58729809FC22}" dt="2023-10-06T07:38:22.981" v="23"/>
          <ac:picMkLst>
            <pc:docMk/>
            <pc:sldMk cId="1817694191" sldId="4110"/>
            <ac:picMk id="10" creationId="{CBC9C9DD-17FE-1507-5E4C-E150408E2E2E}"/>
          </ac:picMkLst>
        </pc:picChg>
        <pc:picChg chg="add mod ord modCrop">
          <ac:chgData name="Rawlekar Swapnil INPU" userId="S::swapnil_fce.rawlekar@syngenta.com::c406a373-5fe1-43dc-8b05-fd8f6aa50f5e" providerId="AD" clId="Web-{427EC8A0-783E-971A-424F-58729809FC22}" dt="2023-10-06T07:41:03.675" v="30"/>
          <ac:picMkLst>
            <pc:docMk/>
            <pc:sldMk cId="1817694191" sldId="4110"/>
            <ac:picMk id="13" creationId="{4DE065E5-087A-8384-9ADD-966F884D1CD3}"/>
          </ac:picMkLst>
        </pc:picChg>
      </pc:sldChg>
    </pc:docChg>
  </pc:docChgLst>
  <pc:docChgLst>
    <pc:chgData name="Sharma Harshit INPU" userId="S::harshit.sharma@syngenta.com::976e5785-0f29-40f2-8a19-0d81757def3b" providerId="AD" clId="Web-{2F7DEE09-CF8E-4364-7127-296C030E9866}"/>
    <pc:docChg chg="modSld">
      <pc:chgData name="Sharma Harshit INPU" userId="S::harshit.sharma@syngenta.com::976e5785-0f29-40f2-8a19-0d81757def3b" providerId="AD" clId="Web-{2F7DEE09-CF8E-4364-7127-296C030E9866}" dt="2023-09-14T06:10:47.668" v="0" actId="20577"/>
      <pc:docMkLst>
        <pc:docMk/>
      </pc:docMkLst>
      <pc:sldChg chg="modSp">
        <pc:chgData name="Sharma Harshit INPU" userId="S::harshit.sharma@syngenta.com::976e5785-0f29-40f2-8a19-0d81757def3b" providerId="AD" clId="Web-{2F7DEE09-CF8E-4364-7127-296C030E9866}" dt="2023-09-14T06:10:47.668" v="0" actId="20577"/>
        <pc:sldMkLst>
          <pc:docMk/>
          <pc:sldMk cId="1397090354" sldId="4082"/>
        </pc:sldMkLst>
        <pc:spChg chg="mod">
          <ac:chgData name="Sharma Harshit INPU" userId="S::harshit.sharma@syngenta.com::976e5785-0f29-40f2-8a19-0d81757def3b" providerId="AD" clId="Web-{2F7DEE09-CF8E-4364-7127-296C030E9866}" dt="2023-09-14T06:10:47.668" v="0" actId="20577"/>
          <ac:spMkLst>
            <pc:docMk/>
            <pc:sldMk cId="1397090354" sldId="4082"/>
            <ac:spMk id="4" creationId="{D9806C09-1C80-CBDD-142D-A9410B5112A8}"/>
          </ac:spMkLst>
        </pc:spChg>
      </pc:sldChg>
    </pc:docChg>
  </pc:docChgLst>
  <pc:docChgLst>
    <pc:chgData name="Correia Catarina CHBS" userId="S::catarina.correia@syngenta.com::68382206-0a9e-42f5-89a0-e010c65991bc" providerId="AD" clId="Web-{6C3C1B72-38F6-ACB5-8A6B-338CEC06B230}"/>
    <pc:docChg chg="modSld">
      <pc:chgData name="Correia Catarina CHBS" userId="S::catarina.correia@syngenta.com::68382206-0a9e-42f5-89a0-e010c65991bc" providerId="AD" clId="Web-{6C3C1B72-38F6-ACB5-8A6B-338CEC06B230}" dt="2023-11-17T14:08:29.636" v="0"/>
      <pc:docMkLst>
        <pc:docMk/>
      </pc:docMkLst>
      <pc:sldChg chg="addSp">
        <pc:chgData name="Correia Catarina CHBS" userId="S::catarina.correia@syngenta.com::68382206-0a9e-42f5-89a0-e010c65991bc" providerId="AD" clId="Web-{6C3C1B72-38F6-ACB5-8A6B-338CEC06B230}" dt="2023-11-17T14:08:29.636" v="0"/>
        <pc:sldMkLst>
          <pc:docMk/>
          <pc:sldMk cId="3418172053" sldId="4108"/>
        </pc:sldMkLst>
        <pc:picChg chg="add">
          <ac:chgData name="Correia Catarina CHBS" userId="S::catarina.correia@syngenta.com::68382206-0a9e-42f5-89a0-e010c65991bc" providerId="AD" clId="Web-{6C3C1B72-38F6-ACB5-8A6B-338CEC06B230}" dt="2023-11-17T14:08:29.636" v="0"/>
          <ac:picMkLst>
            <pc:docMk/>
            <pc:sldMk cId="3418172053" sldId="4108"/>
            <ac:picMk id="5" creationId="{3C9B6174-66D6-F16E-16E5-AA76D3CD8276}"/>
          </ac:picMkLst>
        </pc:picChg>
      </pc:sldChg>
    </pc:docChg>
  </pc:docChgLst>
  <pc:docChgLst>
    <pc:chgData name="Rawlekar Swapnil INPU" userId="S::swapnil_fce.rawlekar@syngenta.com::c406a373-5fe1-43dc-8b05-fd8f6aa50f5e" providerId="AD" clId="Web-{28AD233A-6CBB-4E3D-0524-48FCD946AA8C}"/>
    <pc:docChg chg="modSld">
      <pc:chgData name="Rawlekar Swapnil INPU" userId="S::swapnil_fce.rawlekar@syngenta.com::c406a373-5fe1-43dc-8b05-fd8f6aa50f5e" providerId="AD" clId="Web-{28AD233A-6CBB-4E3D-0524-48FCD946AA8C}" dt="2023-10-06T09:23:24.486" v="1" actId="20577"/>
      <pc:docMkLst>
        <pc:docMk/>
      </pc:docMkLst>
      <pc:sldChg chg="addSp delSp modSp">
        <pc:chgData name="Rawlekar Swapnil INPU" userId="S::swapnil_fce.rawlekar@syngenta.com::c406a373-5fe1-43dc-8b05-fd8f6aa50f5e" providerId="AD" clId="Web-{28AD233A-6CBB-4E3D-0524-48FCD946AA8C}" dt="2023-10-06T09:23:24.486" v="1" actId="20577"/>
        <pc:sldMkLst>
          <pc:docMk/>
          <pc:sldMk cId="1817694191" sldId="4110"/>
        </pc:sldMkLst>
        <pc:spChg chg="mod">
          <ac:chgData name="Rawlekar Swapnil INPU" userId="S::swapnil_fce.rawlekar@syngenta.com::c406a373-5fe1-43dc-8b05-fd8f6aa50f5e" providerId="AD" clId="Web-{28AD233A-6CBB-4E3D-0524-48FCD946AA8C}" dt="2023-10-06T09:23:24.486" v="1" actId="20577"/>
          <ac:spMkLst>
            <pc:docMk/>
            <pc:sldMk cId="1817694191" sldId="4110"/>
            <ac:spMk id="3" creationId="{8DEBF722-2A8C-0CA5-E3EA-A02B31EED82D}"/>
          </ac:spMkLst>
        </pc:spChg>
        <pc:spChg chg="add mod">
          <ac:chgData name="Rawlekar Swapnil INPU" userId="S::swapnil_fce.rawlekar@syngenta.com::c406a373-5fe1-43dc-8b05-fd8f6aa50f5e" providerId="AD" clId="Web-{28AD233A-6CBB-4E3D-0524-48FCD946AA8C}" dt="2023-10-06T09:20:47.465" v="0"/>
          <ac:spMkLst>
            <pc:docMk/>
            <pc:sldMk cId="1817694191" sldId="4110"/>
            <ac:spMk id="7" creationId="{712C920D-014D-44D4-2CC5-35FE28590FB9}"/>
          </ac:spMkLst>
        </pc:spChg>
        <pc:picChg chg="del">
          <ac:chgData name="Rawlekar Swapnil INPU" userId="S::swapnil_fce.rawlekar@syngenta.com::c406a373-5fe1-43dc-8b05-fd8f6aa50f5e" providerId="AD" clId="Web-{28AD233A-6CBB-4E3D-0524-48FCD946AA8C}" dt="2023-10-06T09:20:47.465" v="0"/>
          <ac:picMkLst>
            <pc:docMk/>
            <pc:sldMk cId="1817694191" sldId="4110"/>
            <ac:picMk id="13" creationId="{4DE065E5-087A-8384-9ADD-966F884D1CD3}"/>
          </ac:picMkLst>
        </pc:picChg>
      </pc:sldChg>
    </pc:docChg>
  </pc:docChgLst>
  <pc:docChgLst>
    <pc:chgData name="Gomes Daniel BRBH" userId="S::daniel.gomes@syngenta.com::5c6a4f28-e264-4ac9-aa7a-d15ca184162b" providerId="AD" clId="Web-{0CC64142-0B78-8E73-42DC-58766A0A9024}"/>
    <pc:docChg chg="modSld">
      <pc:chgData name="Gomes Daniel BRBH" userId="S::daniel.gomes@syngenta.com::5c6a4f28-e264-4ac9-aa7a-d15ca184162b" providerId="AD" clId="Web-{0CC64142-0B78-8E73-42DC-58766A0A9024}" dt="2023-08-14T18:57:03.656" v="2" actId="20577"/>
      <pc:docMkLst>
        <pc:docMk/>
      </pc:docMkLst>
      <pc:sldChg chg="modSp">
        <pc:chgData name="Gomes Daniel BRBH" userId="S::daniel.gomes@syngenta.com::5c6a4f28-e264-4ac9-aa7a-d15ca184162b" providerId="AD" clId="Web-{0CC64142-0B78-8E73-42DC-58766A0A9024}" dt="2023-08-14T18:57:03.656" v="2" actId="20577"/>
        <pc:sldMkLst>
          <pc:docMk/>
          <pc:sldMk cId="1817694191" sldId="4110"/>
        </pc:sldMkLst>
        <pc:spChg chg="mod">
          <ac:chgData name="Gomes Daniel BRBH" userId="S::daniel.gomes@syngenta.com::5c6a4f28-e264-4ac9-aa7a-d15ca184162b" providerId="AD" clId="Web-{0CC64142-0B78-8E73-42DC-58766A0A9024}" dt="2023-08-14T18:57:03.656" v="2" actId="20577"/>
          <ac:spMkLst>
            <pc:docMk/>
            <pc:sldMk cId="1817694191" sldId="4110"/>
            <ac:spMk id="2" creationId="{CE5B78B0-E389-A658-3238-4D7E4E6BDC9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21FBCD-93E7-452F-BC8C-834137A9920C}" type="datetimeFigureOut">
              <a:rPr lang="en-US" smtClean="0"/>
              <a:t>2/2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D9552B-4FF5-4869-9742-DEC74430A5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3246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3D9D13-C2D3-5086-075D-108E9D9137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75A7A9-2AA0-5E5B-7CAC-7950538168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0D49A8-4809-59A2-984F-44EE685403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4653C-18A9-3B20-21C9-7D9314DDD8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D9552B-4FF5-4869-9742-DEC74430A54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8988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3D5CA2-4D4D-24F7-6CD7-6BE583DB08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3F7133-BA71-4610-4288-F20B4F983F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082DF1-BD1C-B9A6-AC33-4E7F010FDE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482388-458B-3D08-EB79-A8DC04E81E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D9552B-4FF5-4869-9742-DEC74430A54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0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D9552B-4FF5-4869-9742-DEC74430A54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062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D9552B-4FF5-4869-9742-DEC74430A54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616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9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E487DD0-7824-AF3E-CF2A-DDABAD7DF3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7154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E487DD0-7824-AF3E-CF2A-DDABAD7DF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155816-EB3A-42CC-8EB6-2116CB7A6FEC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04800" y="2461468"/>
            <a:ext cx="7074851" cy="1106424"/>
          </a:xfrm>
        </p:spPr>
        <p:txBody>
          <a:bodyPr vert="horz" anchor="b" anchorCtr="0"/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2F373204-6884-3E27-EAE4-0D139992E9C3}"/>
              </a:ext>
            </a:extLst>
          </p:cNvPr>
          <p:cNvSpPr/>
          <p:nvPr userDrawn="1"/>
        </p:nvSpPr>
        <p:spPr>
          <a:xfrm rot="10800000">
            <a:off x="9965664" y="2315832"/>
            <a:ext cx="2226335" cy="2226337"/>
          </a:xfrm>
          <a:custGeom>
            <a:avLst/>
            <a:gdLst>
              <a:gd name="connsiteX0" fmla="*/ 3217558 w 3217558"/>
              <a:gd name="connsiteY0" fmla="*/ 3 h 3217561"/>
              <a:gd name="connsiteX1" fmla="*/ 3217558 w 3217558"/>
              <a:gd name="connsiteY1" fmla="*/ 1608781 h 3217561"/>
              <a:gd name="connsiteX2" fmla="*/ 1608779 w 3217558"/>
              <a:gd name="connsiteY2" fmla="*/ 3217561 h 3217561"/>
              <a:gd name="connsiteX3" fmla="*/ 1608739 w 3217558"/>
              <a:gd name="connsiteY3" fmla="*/ 3217559 h 3217561"/>
              <a:gd name="connsiteX4" fmla="*/ 0 w 3217558"/>
              <a:gd name="connsiteY4" fmla="*/ 3217559 h 3217561"/>
              <a:gd name="connsiteX5" fmla="*/ 0 w 3217558"/>
              <a:gd name="connsiteY5" fmla="*/ 1608781 h 3217561"/>
              <a:gd name="connsiteX6" fmla="*/ 8306 w 3217558"/>
              <a:gd name="connsiteY6" fmla="*/ 1444293 h 3217561"/>
              <a:gd name="connsiteX7" fmla="*/ 1608779 w 3217558"/>
              <a:gd name="connsiteY7" fmla="*/ 0 h 3217561"/>
              <a:gd name="connsiteX8" fmla="*/ 1608818 w 3217558"/>
              <a:gd name="connsiteY8" fmla="*/ 3 h 3217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17558" h="3217561">
                <a:moveTo>
                  <a:pt x="3217558" y="3"/>
                </a:moveTo>
                <a:lnTo>
                  <a:pt x="3217558" y="1608781"/>
                </a:lnTo>
                <a:cubicBezTo>
                  <a:pt x="3217558" y="2497285"/>
                  <a:pt x="2497283" y="3217561"/>
                  <a:pt x="1608779" y="3217561"/>
                </a:cubicBezTo>
                <a:lnTo>
                  <a:pt x="1608739" y="3217559"/>
                </a:lnTo>
                <a:lnTo>
                  <a:pt x="0" y="3217559"/>
                </a:lnTo>
                <a:lnTo>
                  <a:pt x="0" y="1608781"/>
                </a:lnTo>
                <a:cubicBezTo>
                  <a:pt x="0" y="1553250"/>
                  <a:pt x="2813" y="1498375"/>
                  <a:pt x="8306" y="1444293"/>
                </a:cubicBezTo>
                <a:cubicBezTo>
                  <a:pt x="90691" y="633056"/>
                  <a:pt x="775807" y="0"/>
                  <a:pt x="1608779" y="0"/>
                </a:cubicBezTo>
                <a:lnTo>
                  <a:pt x="1608818" y="3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1F0510-29DA-413B-BAC3-98B769B38B6B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04800" y="3686775"/>
            <a:ext cx="7074851" cy="891791"/>
          </a:xfr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14A7BA4D-E942-D58B-28B9-B19D5B7CD348}"/>
              </a:ext>
            </a:extLst>
          </p:cNvPr>
          <p:cNvSpPr/>
          <p:nvPr userDrawn="1"/>
        </p:nvSpPr>
        <p:spPr>
          <a:xfrm rot="16200000">
            <a:off x="9965664" y="12370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17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401BF5AF-F200-4E1E-01F8-ABE1DCAA60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713" y="-232912"/>
            <a:ext cx="2916551" cy="2066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6" name="Picture Placeholder 165">
            <a:extLst>
              <a:ext uri="{FF2B5EF4-FFF2-40B4-BE49-F238E27FC236}">
                <a16:creationId xmlns:a16="http://schemas.microsoft.com/office/drawing/2014/main" id="{8FF03B58-D9A4-C8B1-4D65-19489E921AA1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 flipH="1">
            <a:off x="7633191" y="2322588"/>
            <a:ext cx="2248774" cy="2219580"/>
          </a:xfrm>
          <a:custGeom>
            <a:avLst/>
            <a:gdLst>
              <a:gd name="connsiteX0" fmla="*/ 2248774 w 2248774"/>
              <a:gd name="connsiteY0" fmla="*/ 0 h 2219580"/>
              <a:gd name="connsiteX1" fmla="*/ 1124387 w 2248774"/>
              <a:gd name="connsiteY1" fmla="*/ 0 h 2219580"/>
              <a:gd name="connsiteX2" fmla="*/ 0 w 2248774"/>
              <a:gd name="connsiteY2" fmla="*/ 1109790 h 2219580"/>
              <a:gd name="connsiteX3" fmla="*/ 0 w 2248774"/>
              <a:gd name="connsiteY3" fmla="*/ 2219579 h 2219580"/>
              <a:gd name="connsiteX4" fmla="*/ 1124387 w 2248774"/>
              <a:gd name="connsiteY4" fmla="*/ 2219580 h 2219580"/>
              <a:gd name="connsiteX5" fmla="*/ 2248774 w 2248774"/>
              <a:gd name="connsiteY5" fmla="*/ 1109790 h 2219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48774" h="2219580">
                <a:moveTo>
                  <a:pt x="2248774" y="0"/>
                </a:moveTo>
                <a:lnTo>
                  <a:pt x="1124387" y="0"/>
                </a:lnTo>
                <a:cubicBezTo>
                  <a:pt x="503405" y="0"/>
                  <a:pt x="0" y="496870"/>
                  <a:pt x="0" y="1109790"/>
                </a:cubicBezTo>
                <a:lnTo>
                  <a:pt x="0" y="2219579"/>
                </a:lnTo>
                <a:lnTo>
                  <a:pt x="1124387" y="2219580"/>
                </a:lnTo>
                <a:cubicBezTo>
                  <a:pt x="1745369" y="2219580"/>
                  <a:pt x="2248774" y="1722711"/>
                  <a:pt x="2248774" y="110979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AD620342-F0A5-C409-11E1-94DA9CE38D55}"/>
              </a:ext>
            </a:extLst>
          </p:cNvPr>
          <p:cNvSpPr/>
          <p:nvPr userDrawn="1"/>
        </p:nvSpPr>
        <p:spPr>
          <a:xfrm rot="16200000">
            <a:off x="9868607" y="2264032"/>
            <a:ext cx="154915" cy="154915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F57D2F5-CBF0-C617-4E12-958B3E9AFEBF}"/>
              </a:ext>
            </a:extLst>
          </p:cNvPr>
          <p:cNvGrpSpPr/>
          <p:nvPr userDrawn="1"/>
        </p:nvGrpSpPr>
        <p:grpSpPr>
          <a:xfrm>
            <a:off x="6907543" y="2343240"/>
            <a:ext cx="5302508" cy="4576394"/>
            <a:chOff x="6907543" y="2343240"/>
            <a:chExt cx="5302508" cy="4576394"/>
          </a:xfrm>
        </p:grpSpPr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C7462026-7BFE-8F9C-43C5-E873C713E5B0}"/>
                </a:ext>
              </a:extLst>
            </p:cNvPr>
            <p:cNvGrpSpPr/>
            <p:nvPr userDrawn="1"/>
          </p:nvGrpSpPr>
          <p:grpSpPr>
            <a:xfrm rot="16200000">
              <a:off x="7309329" y="2018912"/>
              <a:ext cx="4576394" cy="5225050"/>
              <a:chOff x="7560407" y="-650848"/>
              <a:chExt cx="4576394" cy="5225050"/>
            </a:xfrm>
          </p:grpSpPr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B2278932-22B3-E52A-7E5B-A04EC6F8FF2A}"/>
                  </a:ext>
                </a:extLst>
              </p:cNvPr>
              <p:cNvGrpSpPr/>
              <p:nvPr userDrawn="1"/>
            </p:nvGrpSpPr>
            <p:grpSpPr>
              <a:xfrm>
                <a:off x="7625817" y="2310219"/>
                <a:ext cx="4510984" cy="2263983"/>
                <a:chOff x="7638061" y="2322589"/>
                <a:chExt cx="4510984" cy="2263983"/>
              </a:xfrm>
              <a:noFill/>
            </p:grpSpPr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96C5D968-8459-8F12-5728-A93728F3C34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5400000" flipH="1">
                  <a:off x="7076725" y="3993713"/>
                  <a:ext cx="1122671" cy="0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0" name="Arc 149">
                  <a:extLst>
                    <a:ext uri="{FF2B5EF4-FFF2-40B4-BE49-F238E27FC236}">
                      <a16:creationId xmlns:a16="http://schemas.microsoft.com/office/drawing/2014/main" id="{6450F2AB-33C0-B448-E0B4-21DF746DCA11}"/>
                    </a:ext>
                  </a:extLst>
                </p:cNvPr>
                <p:cNvSpPr/>
                <p:nvPr userDrawn="1"/>
              </p:nvSpPr>
              <p:spPr>
                <a:xfrm rot="16200000">
                  <a:off x="7642044" y="2323885"/>
                  <a:ext cx="2262687" cy="2262687"/>
                </a:xfrm>
                <a:prstGeom prst="arc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51" name="Straight Connector 150">
                  <a:extLst>
                    <a:ext uri="{FF2B5EF4-FFF2-40B4-BE49-F238E27FC236}">
                      <a16:creationId xmlns:a16="http://schemas.microsoft.com/office/drawing/2014/main" id="{F6F3DBAF-64ED-A5F8-3E4F-C94A00A70E4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5400000">
                  <a:off x="10453312" y="626855"/>
                  <a:ext cx="0" cy="3391467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D41DA2BB-7E34-BC1B-6763-3CEB1F708661}"/>
                  </a:ext>
                </a:extLst>
              </p:cNvPr>
              <p:cNvGrpSpPr/>
              <p:nvPr userDrawn="1"/>
            </p:nvGrpSpPr>
            <p:grpSpPr>
              <a:xfrm rot="10800000">
                <a:off x="7560407" y="-650848"/>
                <a:ext cx="2313738" cy="5194822"/>
                <a:chOff x="7638061" y="2322589"/>
                <a:chExt cx="2313738" cy="5194822"/>
              </a:xfrm>
              <a:noFill/>
            </p:grpSpPr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id="{ED6701F4-4910-FB77-A521-3143044906D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>
                  <a:off x="5595544" y="5474895"/>
                  <a:ext cx="4085033" cy="0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5" name="Arc 144">
                  <a:extLst>
                    <a:ext uri="{FF2B5EF4-FFF2-40B4-BE49-F238E27FC236}">
                      <a16:creationId xmlns:a16="http://schemas.microsoft.com/office/drawing/2014/main" id="{069E3076-274F-B3E5-500B-7E9EBDED9E77}"/>
                    </a:ext>
                  </a:extLst>
                </p:cNvPr>
                <p:cNvSpPr/>
                <p:nvPr userDrawn="1"/>
              </p:nvSpPr>
              <p:spPr>
                <a:xfrm rot="16200000">
                  <a:off x="7642044" y="2323885"/>
                  <a:ext cx="2262687" cy="2262687"/>
                </a:xfrm>
                <a:prstGeom prst="arc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398D2154-04C5-B6B3-EA3D-FCDFC117DDB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V="1">
                  <a:off x="9354690" y="1725479"/>
                  <a:ext cx="0" cy="1194219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1F656542-9DED-6FBE-FB23-27182CF6EAE7}"/>
                </a:ext>
              </a:extLst>
            </p:cNvPr>
            <p:cNvSpPr/>
            <p:nvPr userDrawn="1"/>
          </p:nvSpPr>
          <p:spPr>
            <a:xfrm rot="16200000">
              <a:off x="6907543" y="4535342"/>
              <a:ext cx="154915" cy="15491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C59F3555-5B5E-758D-B0C7-5CA1D10710CE}"/>
              </a:ext>
            </a:extLst>
          </p:cNvPr>
          <p:cNvGrpSpPr/>
          <p:nvPr userDrawn="1"/>
        </p:nvGrpSpPr>
        <p:grpSpPr>
          <a:xfrm>
            <a:off x="3877833" y="-35176"/>
            <a:ext cx="8314167" cy="6912226"/>
            <a:chOff x="3877833" y="-35176"/>
            <a:chExt cx="8314167" cy="6912226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C0BC9710-E1E6-6F43-53BF-9BA293AD5AA9}"/>
                </a:ext>
              </a:extLst>
            </p:cNvPr>
            <p:cNvSpPr/>
            <p:nvPr userDrawn="1"/>
          </p:nvSpPr>
          <p:spPr>
            <a:xfrm rot="10800000">
              <a:off x="5201830" y="1049111"/>
              <a:ext cx="6990170" cy="2341244"/>
            </a:xfrm>
            <a:custGeom>
              <a:avLst/>
              <a:gdLst>
                <a:gd name="connsiteX0" fmla="*/ 4770936 w 4770935"/>
                <a:gd name="connsiteY0" fmla="*/ 1597947 h 1597947"/>
                <a:gd name="connsiteX1" fmla="*/ 3128550 w 4770935"/>
                <a:gd name="connsiteY1" fmla="*/ 1597947 h 1597947"/>
                <a:gd name="connsiteX2" fmla="*/ 2920331 w 4770935"/>
                <a:gd name="connsiteY2" fmla="*/ 1511361 h 1597947"/>
                <a:gd name="connsiteX3" fmla="*/ 2835120 w 4770935"/>
                <a:gd name="connsiteY3" fmla="*/ 1302455 h 1597947"/>
                <a:gd name="connsiteX4" fmla="*/ 2842450 w 4770935"/>
                <a:gd name="connsiteY4" fmla="*/ 295492 h 1597947"/>
                <a:gd name="connsiteX5" fmla="*/ 2758841 w 4770935"/>
                <a:gd name="connsiteY5" fmla="*/ 90709 h 1597947"/>
                <a:gd name="connsiteX6" fmla="*/ 2554746 w 4770935"/>
                <a:gd name="connsiteY6" fmla="*/ 5727 h 1597947"/>
                <a:gd name="connsiteX7" fmla="*/ 950843 w 4770935"/>
                <a:gd name="connsiteY7" fmla="*/ 5727 h 1597947"/>
                <a:gd name="connsiteX8" fmla="*/ 663368 w 4770935"/>
                <a:gd name="connsiteY8" fmla="*/ 291369 h 1597947"/>
                <a:gd name="connsiteX9" fmla="*/ 661536 w 4770935"/>
                <a:gd name="connsiteY9" fmla="*/ 516997 h 1597947"/>
                <a:gd name="connsiteX10" fmla="*/ 1324904 w 4770935"/>
                <a:gd name="connsiteY10" fmla="*/ 516997 h 1597947"/>
                <a:gd name="connsiteX11" fmla="*/ 1618334 w 4770935"/>
                <a:gd name="connsiteY11" fmla="*/ 810656 h 1597947"/>
                <a:gd name="connsiteX12" fmla="*/ 1618334 w 4770935"/>
                <a:gd name="connsiteY12" fmla="*/ 1304517 h 1597947"/>
                <a:gd name="connsiteX13" fmla="*/ 1324904 w 4770935"/>
                <a:gd name="connsiteY13" fmla="*/ 1597947 h 1597947"/>
                <a:gd name="connsiteX14" fmla="*/ 943513 w 4770935"/>
                <a:gd name="connsiteY14" fmla="*/ 1597947 h 1597947"/>
                <a:gd name="connsiteX15" fmla="*/ 735294 w 4770935"/>
                <a:gd name="connsiteY15" fmla="*/ 1511361 h 1597947"/>
                <a:gd name="connsiteX16" fmla="*/ 650082 w 4770935"/>
                <a:gd name="connsiteY16" fmla="*/ 1302455 h 1597947"/>
                <a:gd name="connsiteX17" fmla="*/ 655809 w 4770935"/>
                <a:gd name="connsiteY17" fmla="*/ 522952 h 1597947"/>
                <a:gd name="connsiteX18" fmla="*/ 0 w 4770935"/>
                <a:gd name="connsiteY18" fmla="*/ 522952 h 1597947"/>
                <a:gd name="connsiteX19" fmla="*/ 0 w 4770935"/>
                <a:gd name="connsiteY19" fmla="*/ 516997 h 1597947"/>
                <a:gd name="connsiteX20" fmla="*/ 655809 w 4770935"/>
                <a:gd name="connsiteY20" fmla="*/ 516997 h 1597947"/>
                <a:gd name="connsiteX21" fmla="*/ 657412 w 4770935"/>
                <a:gd name="connsiteY21" fmla="*/ 291140 h 1597947"/>
                <a:gd name="connsiteX22" fmla="*/ 950843 w 4770935"/>
                <a:gd name="connsiteY22" fmla="*/ 0 h 1597947"/>
                <a:gd name="connsiteX23" fmla="*/ 2554746 w 4770935"/>
                <a:gd name="connsiteY23" fmla="*/ 0 h 1597947"/>
                <a:gd name="connsiteX24" fmla="*/ 2762965 w 4770935"/>
                <a:gd name="connsiteY24" fmla="*/ 86586 h 1597947"/>
                <a:gd name="connsiteX25" fmla="*/ 2848176 w 4770935"/>
                <a:gd name="connsiteY25" fmla="*/ 295492 h 1597947"/>
                <a:gd name="connsiteX26" fmla="*/ 2840846 w 4770935"/>
                <a:gd name="connsiteY26" fmla="*/ 1302455 h 1597947"/>
                <a:gd name="connsiteX27" fmla="*/ 2924454 w 4770935"/>
                <a:gd name="connsiteY27" fmla="*/ 1507238 h 1597947"/>
                <a:gd name="connsiteX28" fmla="*/ 3128550 w 4770935"/>
                <a:gd name="connsiteY28" fmla="*/ 1592221 h 1597947"/>
                <a:gd name="connsiteX29" fmla="*/ 4770936 w 4770935"/>
                <a:gd name="connsiteY29" fmla="*/ 1592221 h 1597947"/>
                <a:gd name="connsiteX30" fmla="*/ 661536 w 4770935"/>
                <a:gd name="connsiteY30" fmla="*/ 522723 h 1597947"/>
                <a:gd name="connsiteX31" fmla="*/ 655809 w 4770935"/>
                <a:gd name="connsiteY31" fmla="*/ 1302226 h 1597947"/>
                <a:gd name="connsiteX32" fmla="*/ 739417 w 4770935"/>
                <a:gd name="connsiteY32" fmla="*/ 1507009 h 1597947"/>
                <a:gd name="connsiteX33" fmla="*/ 943513 w 4770935"/>
                <a:gd name="connsiteY33" fmla="*/ 1591992 h 1597947"/>
                <a:gd name="connsiteX34" fmla="*/ 1324904 w 4770935"/>
                <a:gd name="connsiteY34" fmla="*/ 1591992 h 1597947"/>
                <a:gd name="connsiteX35" fmla="*/ 1612607 w 4770935"/>
                <a:gd name="connsiteY35" fmla="*/ 1304517 h 1597947"/>
                <a:gd name="connsiteX36" fmla="*/ 1612607 w 4770935"/>
                <a:gd name="connsiteY36" fmla="*/ 810427 h 1597947"/>
                <a:gd name="connsiteX37" fmla="*/ 1324904 w 4770935"/>
                <a:gd name="connsiteY37" fmla="*/ 522723 h 159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70935" h="1597947">
                  <a:moveTo>
                    <a:pt x="4770936" y="1597947"/>
                  </a:moveTo>
                  <a:lnTo>
                    <a:pt x="3128550" y="1597947"/>
                  </a:lnTo>
                  <a:cubicBezTo>
                    <a:pt x="3049752" y="1597947"/>
                    <a:pt x="2975765" y="1567253"/>
                    <a:pt x="2920331" y="1511361"/>
                  </a:cubicBezTo>
                  <a:cubicBezTo>
                    <a:pt x="2864669" y="1455470"/>
                    <a:pt x="2834432" y="1381253"/>
                    <a:pt x="2835120" y="1302455"/>
                  </a:cubicBezTo>
                  <a:lnTo>
                    <a:pt x="2842450" y="295492"/>
                  </a:lnTo>
                  <a:cubicBezTo>
                    <a:pt x="2842908" y="218298"/>
                    <a:pt x="2813359" y="145455"/>
                    <a:pt x="2758841" y="90709"/>
                  </a:cubicBezTo>
                  <a:cubicBezTo>
                    <a:pt x="2704553" y="35963"/>
                    <a:pt x="2631940" y="5727"/>
                    <a:pt x="2554746" y="5727"/>
                  </a:cubicBezTo>
                  <a:lnTo>
                    <a:pt x="950843" y="5727"/>
                  </a:lnTo>
                  <a:cubicBezTo>
                    <a:pt x="793476" y="5727"/>
                    <a:pt x="664513" y="133773"/>
                    <a:pt x="663368" y="291369"/>
                  </a:cubicBezTo>
                  <a:lnTo>
                    <a:pt x="661536" y="516997"/>
                  </a:lnTo>
                  <a:lnTo>
                    <a:pt x="1324904" y="516997"/>
                  </a:lnTo>
                  <a:cubicBezTo>
                    <a:pt x="1486851" y="516997"/>
                    <a:pt x="1618334" y="648708"/>
                    <a:pt x="1618334" y="810656"/>
                  </a:cubicBezTo>
                  <a:lnTo>
                    <a:pt x="1618334" y="1304517"/>
                  </a:lnTo>
                  <a:cubicBezTo>
                    <a:pt x="1618334" y="1466236"/>
                    <a:pt x="1486851" y="1597947"/>
                    <a:pt x="1324904" y="1597947"/>
                  </a:cubicBezTo>
                  <a:lnTo>
                    <a:pt x="943513" y="1597947"/>
                  </a:lnTo>
                  <a:cubicBezTo>
                    <a:pt x="864715" y="1597947"/>
                    <a:pt x="790727" y="1567253"/>
                    <a:pt x="735294" y="1511361"/>
                  </a:cubicBezTo>
                  <a:cubicBezTo>
                    <a:pt x="679861" y="1455470"/>
                    <a:pt x="649395" y="1381253"/>
                    <a:pt x="650082" y="1302455"/>
                  </a:cubicBezTo>
                  <a:lnTo>
                    <a:pt x="655809" y="522952"/>
                  </a:lnTo>
                  <a:lnTo>
                    <a:pt x="0" y="522952"/>
                  </a:lnTo>
                  <a:lnTo>
                    <a:pt x="0" y="516997"/>
                  </a:lnTo>
                  <a:lnTo>
                    <a:pt x="655809" y="516997"/>
                  </a:lnTo>
                  <a:lnTo>
                    <a:pt x="657412" y="291140"/>
                  </a:lnTo>
                  <a:cubicBezTo>
                    <a:pt x="658558" y="130566"/>
                    <a:pt x="790269" y="0"/>
                    <a:pt x="950843" y="0"/>
                  </a:cubicBezTo>
                  <a:lnTo>
                    <a:pt x="2554746" y="0"/>
                  </a:lnTo>
                  <a:cubicBezTo>
                    <a:pt x="2633544" y="0"/>
                    <a:pt x="2707531" y="30695"/>
                    <a:pt x="2762965" y="86586"/>
                  </a:cubicBezTo>
                  <a:cubicBezTo>
                    <a:pt x="2818627" y="142478"/>
                    <a:pt x="2848863" y="216694"/>
                    <a:pt x="2848176" y="295492"/>
                  </a:cubicBezTo>
                  <a:lnTo>
                    <a:pt x="2840846" y="1302455"/>
                  </a:lnTo>
                  <a:cubicBezTo>
                    <a:pt x="2840388" y="1379650"/>
                    <a:pt x="2869937" y="1452263"/>
                    <a:pt x="2924454" y="1507238"/>
                  </a:cubicBezTo>
                  <a:cubicBezTo>
                    <a:pt x="2978742" y="1561984"/>
                    <a:pt x="3051356" y="1592221"/>
                    <a:pt x="3128550" y="1592221"/>
                  </a:cubicBezTo>
                  <a:lnTo>
                    <a:pt x="4770936" y="1592221"/>
                  </a:lnTo>
                  <a:close/>
                  <a:moveTo>
                    <a:pt x="661536" y="522723"/>
                  </a:moveTo>
                  <a:lnTo>
                    <a:pt x="655809" y="1302226"/>
                  </a:lnTo>
                  <a:cubicBezTo>
                    <a:pt x="655351" y="1379650"/>
                    <a:pt x="684900" y="1452263"/>
                    <a:pt x="739417" y="1507009"/>
                  </a:cubicBezTo>
                  <a:cubicBezTo>
                    <a:pt x="793705" y="1561984"/>
                    <a:pt x="866318" y="1591992"/>
                    <a:pt x="943513" y="1591992"/>
                  </a:cubicBezTo>
                  <a:lnTo>
                    <a:pt x="1324904" y="1591992"/>
                  </a:lnTo>
                  <a:cubicBezTo>
                    <a:pt x="1483645" y="1591992"/>
                    <a:pt x="1612607" y="1463029"/>
                    <a:pt x="1612607" y="1304517"/>
                  </a:cubicBezTo>
                  <a:lnTo>
                    <a:pt x="1612607" y="810427"/>
                  </a:lnTo>
                  <a:cubicBezTo>
                    <a:pt x="1612607" y="651915"/>
                    <a:pt x="1483645" y="522723"/>
                    <a:pt x="1324904" y="522723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6833B9F-C393-C27F-84E1-AD6885A4C1C7}"/>
                </a:ext>
              </a:extLst>
            </p:cNvPr>
            <p:cNvSpPr/>
            <p:nvPr userDrawn="1"/>
          </p:nvSpPr>
          <p:spPr>
            <a:xfrm rot="10800000">
              <a:off x="8977824" y="65762"/>
              <a:ext cx="3214176" cy="6151470"/>
            </a:xfrm>
            <a:custGeom>
              <a:avLst/>
              <a:gdLst>
                <a:gd name="connsiteX0" fmla="*/ 2193742 w 2193741"/>
                <a:gd name="connsiteY0" fmla="*/ 4198506 h 4198505"/>
                <a:gd name="connsiteX1" fmla="*/ 2187786 w 2193741"/>
                <a:gd name="connsiteY1" fmla="*/ 4198506 h 4198505"/>
                <a:gd name="connsiteX2" fmla="*/ 2187786 w 2193741"/>
                <a:gd name="connsiteY2" fmla="*/ 1205791 h 4198505"/>
                <a:gd name="connsiteX3" fmla="*/ 1900311 w 2193741"/>
                <a:gd name="connsiteY3" fmla="*/ 918087 h 4198505"/>
                <a:gd name="connsiteX4" fmla="*/ 1080951 w 2193741"/>
                <a:gd name="connsiteY4" fmla="*/ 918087 h 4198505"/>
                <a:gd name="connsiteX5" fmla="*/ 787291 w 2193741"/>
                <a:gd name="connsiteY5" fmla="*/ 624656 h 4198505"/>
                <a:gd name="connsiteX6" fmla="*/ 787291 w 2193741"/>
                <a:gd name="connsiteY6" fmla="*/ 293430 h 4198505"/>
                <a:gd name="connsiteX7" fmla="*/ 499817 w 2193741"/>
                <a:gd name="connsiteY7" fmla="*/ 5727 h 4198505"/>
                <a:gd name="connsiteX8" fmla="*/ 0 w 2193741"/>
                <a:gd name="connsiteY8" fmla="*/ 5727 h 4198505"/>
                <a:gd name="connsiteX9" fmla="*/ 0 w 2193741"/>
                <a:gd name="connsiteY9" fmla="*/ 0 h 4198505"/>
                <a:gd name="connsiteX10" fmla="*/ 499817 w 2193741"/>
                <a:gd name="connsiteY10" fmla="*/ 0 h 4198505"/>
                <a:gd name="connsiteX11" fmla="*/ 793247 w 2193741"/>
                <a:gd name="connsiteY11" fmla="*/ 293430 h 4198505"/>
                <a:gd name="connsiteX12" fmla="*/ 793247 w 2193741"/>
                <a:gd name="connsiteY12" fmla="*/ 624656 h 4198505"/>
                <a:gd name="connsiteX13" fmla="*/ 1080951 w 2193741"/>
                <a:gd name="connsiteY13" fmla="*/ 912360 h 4198505"/>
                <a:gd name="connsiteX14" fmla="*/ 1900311 w 2193741"/>
                <a:gd name="connsiteY14" fmla="*/ 912360 h 4198505"/>
                <a:gd name="connsiteX15" fmla="*/ 2193742 w 2193741"/>
                <a:gd name="connsiteY15" fmla="*/ 1205791 h 4198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3741" h="4198505">
                  <a:moveTo>
                    <a:pt x="2193742" y="4198506"/>
                  </a:moveTo>
                  <a:lnTo>
                    <a:pt x="2187786" y="4198506"/>
                  </a:lnTo>
                  <a:lnTo>
                    <a:pt x="2187786" y="1205791"/>
                  </a:lnTo>
                  <a:cubicBezTo>
                    <a:pt x="2187786" y="1047279"/>
                    <a:pt x="2058823" y="918087"/>
                    <a:pt x="1900311" y="918087"/>
                  </a:cubicBezTo>
                  <a:lnTo>
                    <a:pt x="1080951" y="918087"/>
                  </a:lnTo>
                  <a:cubicBezTo>
                    <a:pt x="919003" y="918087"/>
                    <a:pt x="787291" y="786604"/>
                    <a:pt x="787291" y="624656"/>
                  </a:cubicBezTo>
                  <a:lnTo>
                    <a:pt x="787291" y="293430"/>
                  </a:lnTo>
                  <a:cubicBezTo>
                    <a:pt x="787291" y="134918"/>
                    <a:pt x="658329" y="5727"/>
                    <a:pt x="499817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499817" y="0"/>
                  </a:lnTo>
                  <a:cubicBezTo>
                    <a:pt x="661536" y="0"/>
                    <a:pt x="793247" y="131712"/>
                    <a:pt x="793247" y="293430"/>
                  </a:cubicBezTo>
                  <a:lnTo>
                    <a:pt x="793247" y="624656"/>
                  </a:lnTo>
                  <a:cubicBezTo>
                    <a:pt x="793247" y="783397"/>
                    <a:pt x="922210" y="912360"/>
                    <a:pt x="1080951" y="912360"/>
                  </a:cubicBezTo>
                  <a:lnTo>
                    <a:pt x="1900311" y="912360"/>
                  </a:lnTo>
                  <a:cubicBezTo>
                    <a:pt x="2062030" y="912360"/>
                    <a:pt x="2193742" y="1044072"/>
                    <a:pt x="2193742" y="120579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6CD70D22-9639-CD21-82EA-22E258157D59}"/>
                </a:ext>
              </a:extLst>
            </p:cNvPr>
            <p:cNvSpPr/>
            <p:nvPr userDrawn="1"/>
          </p:nvSpPr>
          <p:spPr>
            <a:xfrm rot="10800000">
              <a:off x="9139591" y="5527546"/>
              <a:ext cx="3052409" cy="1349504"/>
            </a:xfrm>
            <a:custGeom>
              <a:avLst/>
              <a:gdLst>
                <a:gd name="connsiteX0" fmla="*/ 1789903 w 2083332"/>
                <a:gd name="connsiteY0" fmla="*/ 921065 h 921064"/>
                <a:gd name="connsiteX1" fmla="*/ 0 w 2083332"/>
                <a:gd name="connsiteY1" fmla="*/ 921065 h 921064"/>
                <a:gd name="connsiteX2" fmla="*/ 0 w 2083332"/>
                <a:gd name="connsiteY2" fmla="*/ 915338 h 921064"/>
                <a:gd name="connsiteX3" fmla="*/ 1789903 w 2083332"/>
                <a:gd name="connsiteY3" fmla="*/ 915338 h 921064"/>
                <a:gd name="connsiteX4" fmla="*/ 2077377 w 2083332"/>
                <a:gd name="connsiteY4" fmla="*/ 627634 h 921064"/>
                <a:gd name="connsiteX5" fmla="*/ 2077377 w 2083332"/>
                <a:gd name="connsiteY5" fmla="*/ 0 h 921064"/>
                <a:gd name="connsiteX6" fmla="*/ 2083333 w 2083332"/>
                <a:gd name="connsiteY6" fmla="*/ 0 h 921064"/>
                <a:gd name="connsiteX7" fmla="*/ 2083333 w 2083332"/>
                <a:gd name="connsiteY7" fmla="*/ 627634 h 921064"/>
                <a:gd name="connsiteX8" fmla="*/ 1789903 w 2083332"/>
                <a:gd name="connsiteY8" fmla="*/ 921065 h 92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3332" h="921064">
                  <a:moveTo>
                    <a:pt x="1789903" y="921065"/>
                  </a:moveTo>
                  <a:lnTo>
                    <a:pt x="0" y="921065"/>
                  </a:lnTo>
                  <a:lnTo>
                    <a:pt x="0" y="915338"/>
                  </a:lnTo>
                  <a:lnTo>
                    <a:pt x="1789903" y="915338"/>
                  </a:lnTo>
                  <a:cubicBezTo>
                    <a:pt x="1948415" y="915338"/>
                    <a:pt x="2077377" y="786146"/>
                    <a:pt x="2077377" y="627634"/>
                  </a:cubicBezTo>
                  <a:lnTo>
                    <a:pt x="2077377" y="0"/>
                  </a:lnTo>
                  <a:lnTo>
                    <a:pt x="2083333" y="0"/>
                  </a:lnTo>
                  <a:lnTo>
                    <a:pt x="2083333" y="627634"/>
                  </a:lnTo>
                  <a:cubicBezTo>
                    <a:pt x="2083333" y="789353"/>
                    <a:pt x="1951621" y="921065"/>
                    <a:pt x="1789903" y="92106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DE1DA5C7-1848-21E8-2DA3-A66BCDAD5BB7}"/>
                </a:ext>
              </a:extLst>
            </p:cNvPr>
            <p:cNvSpPr/>
            <p:nvPr userDrawn="1"/>
          </p:nvSpPr>
          <p:spPr>
            <a:xfrm rot="10800000">
              <a:off x="10510574" y="65762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9BA6815F-FC0D-6E27-FEE7-51F40A6FF8A6}"/>
                </a:ext>
              </a:extLst>
            </p:cNvPr>
            <p:cNvSpPr/>
            <p:nvPr userDrawn="1"/>
          </p:nvSpPr>
          <p:spPr>
            <a:xfrm rot="10800000">
              <a:off x="9829801" y="4115481"/>
              <a:ext cx="2362199" cy="10800"/>
            </a:xfrm>
            <a:custGeom>
              <a:avLst/>
              <a:gdLst>
                <a:gd name="connsiteX0" fmla="*/ 1388812 w 1388812"/>
                <a:gd name="connsiteY0" fmla="*/ 5727 h 5726"/>
                <a:gd name="connsiteX1" fmla="*/ 0 w 1388812"/>
                <a:gd name="connsiteY1" fmla="*/ 5727 h 5726"/>
                <a:gd name="connsiteX2" fmla="*/ 0 w 1388812"/>
                <a:gd name="connsiteY2" fmla="*/ 0 h 5726"/>
                <a:gd name="connsiteX3" fmla="*/ 1388812 w 1388812"/>
                <a:gd name="connsiteY3" fmla="*/ 0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812" h="5726">
                  <a:moveTo>
                    <a:pt x="1388812" y="5727"/>
                  </a:moveTo>
                  <a:lnTo>
                    <a:pt x="0" y="5727"/>
                  </a:lnTo>
                  <a:lnTo>
                    <a:pt x="0" y="0"/>
                  </a:lnTo>
                  <a:lnTo>
                    <a:pt x="138881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F8A8C522-1FC0-5454-081E-638B0CE73CAB}"/>
                </a:ext>
              </a:extLst>
            </p:cNvPr>
            <p:cNvSpPr/>
            <p:nvPr userDrawn="1"/>
          </p:nvSpPr>
          <p:spPr>
            <a:xfrm rot="10800000">
              <a:off x="10476342" y="597709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E8BC63DD-AE53-0E03-FA8F-59BC0FB09CBA}"/>
                </a:ext>
              </a:extLst>
            </p:cNvPr>
            <p:cNvGrpSpPr/>
            <p:nvPr userDrawn="1"/>
          </p:nvGrpSpPr>
          <p:grpSpPr>
            <a:xfrm rot="10800000">
              <a:off x="4516507" y="4335446"/>
              <a:ext cx="5542665" cy="2541604"/>
              <a:chOff x="14458144" y="2217630"/>
              <a:chExt cx="3782983" cy="1734697"/>
            </a:xfrm>
            <a:solidFill>
              <a:schemeClr val="accent6">
                <a:lumMod val="60000"/>
                <a:lumOff val="40000"/>
                <a:alpha val="66000"/>
              </a:schemeClr>
            </a:solidFill>
          </p:grpSpPr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ADC1C4CD-0C56-A0AB-093D-DCE4D1CA4364}"/>
                  </a:ext>
                </a:extLst>
              </p:cNvPr>
              <p:cNvSpPr/>
              <p:nvPr/>
            </p:nvSpPr>
            <p:spPr>
              <a:xfrm>
                <a:off x="14458144" y="2217630"/>
                <a:ext cx="2954919" cy="1693924"/>
              </a:xfrm>
              <a:custGeom>
                <a:avLst/>
                <a:gdLst>
                  <a:gd name="connsiteX0" fmla="*/ 2954920 w 2954919"/>
                  <a:gd name="connsiteY0" fmla="*/ 1693925 h 1693924"/>
                  <a:gd name="connsiteX1" fmla="*/ 1897333 w 2954919"/>
                  <a:gd name="connsiteY1" fmla="*/ 1693925 h 1693924"/>
                  <a:gd name="connsiteX2" fmla="*/ 1603903 w 2954919"/>
                  <a:gd name="connsiteY2" fmla="*/ 1400495 h 1693924"/>
                  <a:gd name="connsiteX3" fmla="*/ 1603903 w 2954919"/>
                  <a:gd name="connsiteY3" fmla="*/ 836769 h 1693924"/>
                  <a:gd name="connsiteX4" fmla="*/ 1316199 w 2954919"/>
                  <a:gd name="connsiteY4" fmla="*/ 549065 h 1693924"/>
                  <a:gd name="connsiteX5" fmla="*/ 293430 w 2954919"/>
                  <a:gd name="connsiteY5" fmla="*/ 549065 h 1693924"/>
                  <a:gd name="connsiteX6" fmla="*/ 0 w 2954919"/>
                  <a:gd name="connsiteY6" fmla="*/ 255635 h 1693924"/>
                  <a:gd name="connsiteX7" fmla="*/ 0 w 2954919"/>
                  <a:gd name="connsiteY7" fmla="*/ 0 h 1693924"/>
                  <a:gd name="connsiteX8" fmla="*/ 5727 w 2954919"/>
                  <a:gd name="connsiteY8" fmla="*/ 0 h 1693924"/>
                  <a:gd name="connsiteX9" fmla="*/ 5727 w 2954919"/>
                  <a:gd name="connsiteY9" fmla="*/ 255635 h 1693924"/>
                  <a:gd name="connsiteX10" fmla="*/ 293430 w 2954919"/>
                  <a:gd name="connsiteY10" fmla="*/ 543339 h 1693924"/>
                  <a:gd name="connsiteX11" fmla="*/ 1316199 w 2954919"/>
                  <a:gd name="connsiteY11" fmla="*/ 543339 h 1693924"/>
                  <a:gd name="connsiteX12" fmla="*/ 1609630 w 2954919"/>
                  <a:gd name="connsiteY12" fmla="*/ 836769 h 1693924"/>
                  <a:gd name="connsiteX13" fmla="*/ 1609630 w 2954919"/>
                  <a:gd name="connsiteY13" fmla="*/ 1400495 h 1693924"/>
                  <a:gd name="connsiteX14" fmla="*/ 1897333 w 2954919"/>
                  <a:gd name="connsiteY14" fmla="*/ 1688198 h 1693924"/>
                  <a:gd name="connsiteX15" fmla="*/ 2954920 w 2954919"/>
                  <a:gd name="connsiteY15" fmla="*/ 1688198 h 169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54919" h="1693924">
                    <a:moveTo>
                      <a:pt x="2954920" y="1693925"/>
                    </a:moveTo>
                    <a:lnTo>
                      <a:pt x="1897333" y="1693925"/>
                    </a:lnTo>
                    <a:cubicBezTo>
                      <a:pt x="1735615" y="1693925"/>
                      <a:pt x="1603903" y="1562214"/>
                      <a:pt x="1603903" y="1400495"/>
                    </a:cubicBezTo>
                    <a:lnTo>
                      <a:pt x="1603903" y="836769"/>
                    </a:lnTo>
                    <a:cubicBezTo>
                      <a:pt x="1603903" y="678257"/>
                      <a:pt x="1474711" y="549065"/>
                      <a:pt x="1316199" y="549065"/>
                    </a:cubicBezTo>
                    <a:lnTo>
                      <a:pt x="293430" y="549065"/>
                    </a:lnTo>
                    <a:cubicBezTo>
                      <a:pt x="131712" y="549065"/>
                      <a:pt x="0" y="417583"/>
                      <a:pt x="0" y="255635"/>
                    </a:cubicBezTo>
                    <a:lnTo>
                      <a:pt x="0" y="0"/>
                    </a:lnTo>
                    <a:lnTo>
                      <a:pt x="5727" y="0"/>
                    </a:lnTo>
                    <a:lnTo>
                      <a:pt x="5727" y="255635"/>
                    </a:lnTo>
                    <a:cubicBezTo>
                      <a:pt x="5727" y="414376"/>
                      <a:pt x="134918" y="543339"/>
                      <a:pt x="293430" y="543339"/>
                    </a:cubicBezTo>
                    <a:lnTo>
                      <a:pt x="1316199" y="543339"/>
                    </a:lnTo>
                    <a:cubicBezTo>
                      <a:pt x="1477918" y="543339"/>
                      <a:pt x="1609630" y="675050"/>
                      <a:pt x="1609630" y="836769"/>
                    </a:cubicBezTo>
                    <a:lnTo>
                      <a:pt x="1609630" y="1400495"/>
                    </a:lnTo>
                    <a:cubicBezTo>
                      <a:pt x="1609630" y="1559007"/>
                      <a:pt x="1738821" y="1688198"/>
                      <a:pt x="1897333" y="1688198"/>
                    </a:cubicBezTo>
                    <a:lnTo>
                      <a:pt x="2954920" y="16881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3BD25A2D-9762-971F-EA57-5C7112908467}"/>
                  </a:ext>
                </a:extLst>
              </p:cNvPr>
              <p:cNvSpPr/>
              <p:nvPr/>
            </p:nvSpPr>
            <p:spPr>
              <a:xfrm>
                <a:off x="15643548" y="2217630"/>
                <a:ext cx="2559785" cy="1095381"/>
              </a:xfrm>
              <a:custGeom>
                <a:avLst/>
                <a:gdLst>
                  <a:gd name="connsiteX0" fmla="*/ 2559785 w 2559785"/>
                  <a:gd name="connsiteY0" fmla="*/ 1095382 h 1095381"/>
                  <a:gd name="connsiteX1" fmla="*/ 293431 w 2559785"/>
                  <a:gd name="connsiteY1" fmla="*/ 1095382 h 1095381"/>
                  <a:gd name="connsiteX2" fmla="*/ 0 w 2559785"/>
                  <a:gd name="connsiteY2" fmla="*/ 801951 h 1095381"/>
                  <a:gd name="connsiteX3" fmla="*/ 0 w 2559785"/>
                  <a:gd name="connsiteY3" fmla="*/ 0 h 1095381"/>
                  <a:gd name="connsiteX4" fmla="*/ 5956 w 2559785"/>
                  <a:gd name="connsiteY4" fmla="*/ 0 h 1095381"/>
                  <a:gd name="connsiteX5" fmla="*/ 5956 w 2559785"/>
                  <a:gd name="connsiteY5" fmla="*/ 801951 h 1095381"/>
                  <a:gd name="connsiteX6" fmla="*/ 293431 w 2559785"/>
                  <a:gd name="connsiteY6" fmla="*/ 1089655 h 1095381"/>
                  <a:gd name="connsiteX7" fmla="*/ 2559785 w 2559785"/>
                  <a:gd name="connsiteY7" fmla="*/ 1089655 h 109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9785" h="1095381">
                    <a:moveTo>
                      <a:pt x="2559785" y="1095382"/>
                    </a:moveTo>
                    <a:lnTo>
                      <a:pt x="293431" y="1095382"/>
                    </a:lnTo>
                    <a:cubicBezTo>
                      <a:pt x="131712" y="1095382"/>
                      <a:pt x="0" y="963670"/>
                      <a:pt x="0" y="801951"/>
                    </a:cubicBezTo>
                    <a:lnTo>
                      <a:pt x="0" y="0"/>
                    </a:lnTo>
                    <a:lnTo>
                      <a:pt x="5956" y="0"/>
                    </a:lnTo>
                    <a:lnTo>
                      <a:pt x="5956" y="801951"/>
                    </a:lnTo>
                    <a:cubicBezTo>
                      <a:pt x="5956" y="960464"/>
                      <a:pt x="134918" y="1089655"/>
                      <a:pt x="293431" y="1089655"/>
                    </a:cubicBezTo>
                    <a:lnTo>
                      <a:pt x="2559785" y="1089655"/>
                    </a:ln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5277A724-DC18-15B1-D641-1E37E2231A8A}"/>
                  </a:ext>
                </a:extLst>
              </p:cNvPr>
              <p:cNvSpPr/>
              <p:nvPr/>
            </p:nvSpPr>
            <p:spPr>
              <a:xfrm>
                <a:off x="17375268" y="3876737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C69C8915-D4D0-0987-7A2A-E19069B51C56}"/>
                  </a:ext>
                </a:extLst>
              </p:cNvPr>
              <p:cNvSpPr/>
              <p:nvPr/>
            </p:nvSpPr>
            <p:spPr>
              <a:xfrm>
                <a:off x="18165537" y="3272239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05FDEDDF-409F-9FC4-9DFA-EB4E9647F2CA}"/>
                </a:ext>
              </a:extLst>
            </p:cNvPr>
            <p:cNvSpPr/>
            <p:nvPr userDrawn="1"/>
          </p:nvSpPr>
          <p:spPr>
            <a:xfrm rot="10800000">
              <a:off x="5146454" y="998099"/>
              <a:ext cx="110751" cy="110416"/>
            </a:xfrm>
            <a:custGeom>
              <a:avLst/>
              <a:gdLst>
                <a:gd name="connsiteX0" fmla="*/ 75591 w 75590"/>
                <a:gd name="connsiteY0" fmla="*/ 37566 h 75361"/>
                <a:gd name="connsiteX1" fmla="*/ 37795 w 75590"/>
                <a:gd name="connsiteY1" fmla="*/ 75362 h 75361"/>
                <a:gd name="connsiteX2" fmla="*/ 0 w 75590"/>
                <a:gd name="connsiteY2" fmla="*/ 37566 h 75361"/>
                <a:gd name="connsiteX3" fmla="*/ 37795 w 75590"/>
                <a:gd name="connsiteY3" fmla="*/ 0 h 75361"/>
                <a:gd name="connsiteX4" fmla="*/ 75591 w 75590"/>
                <a:gd name="connsiteY4" fmla="*/ 37566 h 7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361">
                  <a:moveTo>
                    <a:pt x="75591" y="37566"/>
                  </a:moveTo>
                  <a:cubicBezTo>
                    <a:pt x="75591" y="58640"/>
                    <a:pt x="58640" y="75362"/>
                    <a:pt x="37795" y="75362"/>
                  </a:cubicBezTo>
                  <a:cubicBezTo>
                    <a:pt x="16950" y="75362"/>
                    <a:pt x="0" y="58640"/>
                    <a:pt x="0" y="37566"/>
                  </a:cubicBezTo>
                  <a:cubicBezTo>
                    <a:pt x="0" y="16722"/>
                    <a:pt x="16950" y="0"/>
                    <a:pt x="37795" y="0"/>
                  </a:cubicBezTo>
                  <a:cubicBezTo>
                    <a:pt x="58640" y="0"/>
                    <a:pt x="75591" y="16722"/>
                    <a:pt x="75591" y="37566"/>
                  </a:cubicBezTo>
                  <a:close/>
                </a:path>
              </a:pathLst>
            </a:custGeom>
            <a:solidFill>
              <a:schemeClr val="accent2"/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18814A72-2AC7-08C8-F735-78F8D890135D}"/>
                </a:ext>
              </a:extLst>
            </p:cNvPr>
            <p:cNvGrpSpPr/>
            <p:nvPr userDrawn="1"/>
          </p:nvGrpSpPr>
          <p:grpSpPr>
            <a:xfrm>
              <a:off x="3877833" y="-35176"/>
              <a:ext cx="2869164" cy="2277476"/>
              <a:chOff x="3877833" y="65762"/>
              <a:chExt cx="2869164" cy="2277476"/>
            </a:xfrm>
          </p:grpSpPr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7BDED4E8-1326-D6F7-7622-E3711E22DF9C}"/>
                  </a:ext>
                </a:extLst>
              </p:cNvPr>
              <p:cNvSpPr/>
              <p:nvPr/>
            </p:nvSpPr>
            <p:spPr>
              <a:xfrm rot="10800000">
                <a:off x="3933209" y="65762"/>
                <a:ext cx="2813788" cy="2226463"/>
              </a:xfrm>
              <a:custGeom>
                <a:avLst/>
                <a:gdLst>
                  <a:gd name="connsiteX0" fmla="*/ 5727 w 1920468"/>
                  <a:gd name="connsiteY0" fmla="*/ 1519607 h 1519607"/>
                  <a:gd name="connsiteX1" fmla="*/ 0 w 1920468"/>
                  <a:gd name="connsiteY1" fmla="*/ 1519607 h 1519607"/>
                  <a:gd name="connsiteX2" fmla="*/ 0 w 1920468"/>
                  <a:gd name="connsiteY2" fmla="*/ 293430 h 1519607"/>
                  <a:gd name="connsiteX3" fmla="*/ 293430 w 1920468"/>
                  <a:gd name="connsiteY3" fmla="*/ 0 h 1519607"/>
                  <a:gd name="connsiteX4" fmla="*/ 1920469 w 1920468"/>
                  <a:gd name="connsiteY4" fmla="*/ 0 h 1519607"/>
                  <a:gd name="connsiteX5" fmla="*/ 1920469 w 1920468"/>
                  <a:gd name="connsiteY5" fmla="*/ 5956 h 1519607"/>
                  <a:gd name="connsiteX6" fmla="*/ 293430 w 1920468"/>
                  <a:gd name="connsiteY6" fmla="*/ 5956 h 1519607"/>
                  <a:gd name="connsiteX7" fmla="*/ 5727 w 1920468"/>
                  <a:gd name="connsiteY7" fmla="*/ 293430 h 15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468" h="1519607">
                    <a:moveTo>
                      <a:pt x="5727" y="1519607"/>
                    </a:moveTo>
                    <a:lnTo>
                      <a:pt x="0" y="1519607"/>
                    </a:lnTo>
                    <a:lnTo>
                      <a:pt x="0" y="293430"/>
                    </a:lnTo>
                    <a:cubicBezTo>
                      <a:pt x="0" y="131712"/>
                      <a:pt x="131483" y="0"/>
                      <a:pt x="293430" y="0"/>
                    </a:cubicBezTo>
                    <a:lnTo>
                      <a:pt x="1920469" y="0"/>
                    </a:lnTo>
                    <a:lnTo>
                      <a:pt x="1920469" y="5956"/>
                    </a:lnTo>
                    <a:lnTo>
                      <a:pt x="293430" y="5956"/>
                    </a:lnTo>
                    <a:cubicBezTo>
                      <a:pt x="134689" y="5956"/>
                      <a:pt x="5727" y="134918"/>
                      <a:pt x="5727" y="29343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98ED8CCF-B88F-6845-C3CD-52A924E1B449}"/>
                  </a:ext>
                </a:extLst>
              </p:cNvPr>
              <p:cNvSpPr/>
              <p:nvPr/>
            </p:nvSpPr>
            <p:spPr>
              <a:xfrm rot="10800000">
                <a:off x="3877833" y="2232487"/>
                <a:ext cx="110751" cy="110751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0" y="75591"/>
                      <a:pt x="0" y="58640"/>
                      <a:pt x="0" y="37795"/>
                    </a:cubicBezTo>
                    <a:cubicBezTo>
                      <a:pt x="0" y="16951"/>
                      <a:pt x="16950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E1CC0B8C-3B2F-CB84-42EA-1205ED1BE018}"/>
                </a:ext>
              </a:extLst>
            </p:cNvPr>
            <p:cNvSpPr/>
            <p:nvPr userDrawn="1"/>
          </p:nvSpPr>
          <p:spPr>
            <a:xfrm rot="10800000">
              <a:off x="9792894" y="4071653"/>
              <a:ext cx="110751" cy="110751"/>
            </a:xfrm>
            <a:custGeom>
              <a:avLst/>
              <a:gdLst>
                <a:gd name="connsiteX0" fmla="*/ 75591 w 75590"/>
                <a:gd name="connsiteY0" fmla="*/ 37795 h 75590"/>
                <a:gd name="connsiteX1" fmla="*/ 37795 w 75590"/>
                <a:gd name="connsiteY1" fmla="*/ 75591 h 75590"/>
                <a:gd name="connsiteX2" fmla="*/ 0 w 75590"/>
                <a:gd name="connsiteY2" fmla="*/ 37795 h 75590"/>
                <a:gd name="connsiteX3" fmla="*/ 37795 w 75590"/>
                <a:gd name="connsiteY3" fmla="*/ 0 h 75590"/>
                <a:gd name="connsiteX4" fmla="*/ 75591 w 75590"/>
                <a:gd name="connsiteY4" fmla="*/ 37795 h 7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590">
                  <a:moveTo>
                    <a:pt x="75591" y="37795"/>
                  </a:moveTo>
                  <a:cubicBezTo>
                    <a:pt x="75591" y="58640"/>
                    <a:pt x="58640" y="75591"/>
                    <a:pt x="37795" y="75591"/>
                  </a:cubicBezTo>
                  <a:cubicBezTo>
                    <a:pt x="16951" y="75591"/>
                    <a:pt x="0" y="58640"/>
                    <a:pt x="0" y="37795"/>
                  </a:cubicBezTo>
                  <a:cubicBezTo>
                    <a:pt x="0" y="16951"/>
                    <a:pt x="16951" y="0"/>
                    <a:pt x="37795" y="0"/>
                  </a:cubicBezTo>
                  <a:cubicBezTo>
                    <a:pt x="58640" y="0"/>
                    <a:pt x="75591" y="16951"/>
                    <a:pt x="75591" y="3779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3315E2F0-6A86-C3DF-8E4D-061B4800BE00}"/>
              </a:ext>
            </a:extLst>
          </p:cNvPr>
          <p:cNvGrpSpPr/>
          <p:nvPr userDrawn="1"/>
        </p:nvGrpSpPr>
        <p:grpSpPr>
          <a:xfrm>
            <a:off x="10462869" y="65761"/>
            <a:ext cx="1715658" cy="1732439"/>
            <a:chOff x="22566503" y="38955"/>
            <a:chExt cx="1715658" cy="1732439"/>
          </a:xfrm>
          <a:solidFill>
            <a:schemeClr val="bg1"/>
          </a:solidFill>
        </p:grpSpPr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416C4BEA-9D1D-6CEA-533D-875CBD321591}"/>
                </a:ext>
              </a:extLst>
            </p:cNvPr>
            <p:cNvSpPr/>
            <p:nvPr userDrawn="1"/>
          </p:nvSpPr>
          <p:spPr>
            <a:xfrm rot="10800000">
              <a:off x="22600735" y="38955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4526299C-2C2D-0C68-15BE-76D98D28D3D1}"/>
                </a:ext>
              </a:extLst>
            </p:cNvPr>
            <p:cNvSpPr/>
            <p:nvPr userDrawn="1"/>
          </p:nvSpPr>
          <p:spPr>
            <a:xfrm rot="10800000">
              <a:off x="22566503" y="570902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33" name="Rectangle 5">
            <a:extLst>
              <a:ext uri="{FF2B5EF4-FFF2-40B4-BE49-F238E27FC236}">
                <a16:creationId xmlns:a16="http://schemas.microsoft.com/office/drawing/2014/main" id="{39B745EC-6475-CDE3-E5E8-BABC6E563C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234" name="Foliennummernplatzhalter 3">
            <a:extLst>
              <a:ext uri="{FF2B5EF4-FFF2-40B4-BE49-F238E27FC236}">
                <a16:creationId xmlns:a16="http://schemas.microsoft.com/office/drawing/2014/main" id="{71D4E7FC-5B34-6388-73A5-2B2CDC212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894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Blank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1004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B328939-91F1-6440-096F-28583FF5DFC6}"/>
              </a:ext>
            </a:extLst>
          </p:cNvPr>
          <p:cNvGrpSpPr/>
          <p:nvPr userDrawn="1"/>
        </p:nvGrpSpPr>
        <p:grpSpPr>
          <a:xfrm rot="10800000">
            <a:off x="4450426" y="-11928"/>
            <a:ext cx="7741574" cy="6869928"/>
            <a:chOff x="-11929" y="-11928"/>
            <a:chExt cx="7179661" cy="6371282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09B9072-E997-8141-5A23-4A380410AE5E}"/>
                </a:ext>
              </a:extLst>
            </p:cNvPr>
            <p:cNvSpPr/>
            <p:nvPr/>
          </p:nvSpPr>
          <p:spPr>
            <a:xfrm>
              <a:off x="-11929" y="3249527"/>
              <a:ext cx="6538609" cy="2190000"/>
            </a:xfrm>
            <a:custGeom>
              <a:avLst/>
              <a:gdLst>
                <a:gd name="connsiteX0" fmla="*/ 6538610 w 6538609"/>
                <a:gd name="connsiteY0" fmla="*/ 2190001 h 2190000"/>
                <a:gd name="connsiteX1" fmla="*/ 4287706 w 6538609"/>
                <a:gd name="connsiteY1" fmla="*/ 2190001 h 2190000"/>
                <a:gd name="connsiteX2" fmla="*/ 4002340 w 6538609"/>
                <a:gd name="connsiteY2" fmla="*/ 2071334 h 2190000"/>
                <a:gd name="connsiteX3" fmla="*/ 3885557 w 6538609"/>
                <a:gd name="connsiteY3" fmla="*/ 1785027 h 2190000"/>
                <a:gd name="connsiteX4" fmla="*/ 3895603 w 6538609"/>
                <a:gd name="connsiteY4" fmla="*/ 404974 h 2190000"/>
                <a:gd name="connsiteX5" fmla="*/ 3781017 w 6538609"/>
                <a:gd name="connsiteY5" fmla="*/ 124318 h 2190000"/>
                <a:gd name="connsiteX6" fmla="*/ 3501302 w 6538609"/>
                <a:gd name="connsiteY6" fmla="*/ 7848 h 2190000"/>
                <a:gd name="connsiteX7" fmla="*/ 1303139 w 6538609"/>
                <a:gd name="connsiteY7" fmla="*/ 7848 h 2190000"/>
                <a:gd name="connsiteX8" fmla="*/ 909152 w 6538609"/>
                <a:gd name="connsiteY8" fmla="*/ 399324 h 2190000"/>
                <a:gd name="connsiteX9" fmla="*/ 906640 w 6538609"/>
                <a:gd name="connsiteY9" fmla="*/ 708548 h 2190000"/>
                <a:gd name="connsiteX10" fmla="*/ 1815792 w 6538609"/>
                <a:gd name="connsiteY10" fmla="*/ 708548 h 2190000"/>
                <a:gd name="connsiteX11" fmla="*/ 2217941 w 6538609"/>
                <a:gd name="connsiteY11" fmla="*/ 1111011 h 2190000"/>
                <a:gd name="connsiteX12" fmla="*/ 2217941 w 6538609"/>
                <a:gd name="connsiteY12" fmla="*/ 1787852 h 2190000"/>
                <a:gd name="connsiteX13" fmla="*/ 1815792 w 6538609"/>
                <a:gd name="connsiteY13" fmla="*/ 2190001 h 2190000"/>
                <a:gd name="connsiteX14" fmla="*/ 1293093 w 6538609"/>
                <a:gd name="connsiteY14" fmla="*/ 2190001 h 2190000"/>
                <a:gd name="connsiteX15" fmla="*/ 1007727 w 6538609"/>
                <a:gd name="connsiteY15" fmla="*/ 2071334 h 2190000"/>
                <a:gd name="connsiteX16" fmla="*/ 890944 w 6538609"/>
                <a:gd name="connsiteY16" fmla="*/ 1785027 h 2190000"/>
                <a:gd name="connsiteX17" fmla="*/ 898792 w 6538609"/>
                <a:gd name="connsiteY17" fmla="*/ 716711 h 2190000"/>
                <a:gd name="connsiteX18" fmla="*/ 0 w 6538609"/>
                <a:gd name="connsiteY18" fmla="*/ 716711 h 2190000"/>
                <a:gd name="connsiteX19" fmla="*/ 0 w 6538609"/>
                <a:gd name="connsiteY19" fmla="*/ 708548 h 2190000"/>
                <a:gd name="connsiteX20" fmla="*/ 898792 w 6538609"/>
                <a:gd name="connsiteY20" fmla="*/ 708548 h 2190000"/>
                <a:gd name="connsiteX21" fmla="*/ 900990 w 6538609"/>
                <a:gd name="connsiteY21" fmla="*/ 399010 h 2190000"/>
                <a:gd name="connsiteX22" fmla="*/ 1303139 w 6538609"/>
                <a:gd name="connsiteY22" fmla="*/ 0 h 2190000"/>
                <a:gd name="connsiteX23" fmla="*/ 3501302 w 6538609"/>
                <a:gd name="connsiteY23" fmla="*/ 0 h 2190000"/>
                <a:gd name="connsiteX24" fmla="*/ 3786668 w 6538609"/>
                <a:gd name="connsiteY24" fmla="*/ 118667 h 2190000"/>
                <a:gd name="connsiteX25" fmla="*/ 3903451 w 6538609"/>
                <a:gd name="connsiteY25" fmla="*/ 404974 h 2190000"/>
                <a:gd name="connsiteX26" fmla="*/ 3893405 w 6538609"/>
                <a:gd name="connsiteY26" fmla="*/ 1785027 h 2190000"/>
                <a:gd name="connsiteX27" fmla="*/ 4007991 w 6538609"/>
                <a:gd name="connsiteY27" fmla="*/ 2065683 h 2190000"/>
                <a:gd name="connsiteX28" fmla="*/ 4287706 w 6538609"/>
                <a:gd name="connsiteY28" fmla="*/ 2182153 h 2190000"/>
                <a:gd name="connsiteX29" fmla="*/ 6538610 w 6538609"/>
                <a:gd name="connsiteY29" fmla="*/ 2182153 h 2190000"/>
                <a:gd name="connsiteX30" fmla="*/ 906640 w 6538609"/>
                <a:gd name="connsiteY30" fmla="*/ 716397 h 2190000"/>
                <a:gd name="connsiteX31" fmla="*/ 898792 w 6538609"/>
                <a:gd name="connsiteY31" fmla="*/ 1784713 h 2190000"/>
                <a:gd name="connsiteX32" fmla="*/ 1013378 w 6538609"/>
                <a:gd name="connsiteY32" fmla="*/ 2065369 h 2190000"/>
                <a:gd name="connsiteX33" fmla="*/ 1293093 w 6538609"/>
                <a:gd name="connsiteY33" fmla="*/ 2181839 h 2190000"/>
                <a:gd name="connsiteX34" fmla="*/ 1815792 w 6538609"/>
                <a:gd name="connsiteY34" fmla="*/ 2181839 h 2190000"/>
                <a:gd name="connsiteX35" fmla="*/ 2210093 w 6538609"/>
                <a:gd name="connsiteY35" fmla="*/ 1787852 h 2190000"/>
                <a:gd name="connsiteX36" fmla="*/ 2210093 w 6538609"/>
                <a:gd name="connsiteY36" fmla="*/ 1110697 h 2190000"/>
                <a:gd name="connsiteX37" fmla="*/ 1815792 w 6538609"/>
                <a:gd name="connsiteY37" fmla="*/ 716397 h 21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538609" h="2190000">
                  <a:moveTo>
                    <a:pt x="6538610" y="2190001"/>
                  </a:moveTo>
                  <a:lnTo>
                    <a:pt x="4287706" y="2190001"/>
                  </a:lnTo>
                  <a:cubicBezTo>
                    <a:pt x="4179713" y="2190001"/>
                    <a:pt x="4078312" y="2147934"/>
                    <a:pt x="4002340" y="2071334"/>
                  </a:cubicBezTo>
                  <a:cubicBezTo>
                    <a:pt x="3926054" y="1994734"/>
                    <a:pt x="3884615" y="1893020"/>
                    <a:pt x="3885557" y="1785027"/>
                  </a:cubicBezTo>
                  <a:lnTo>
                    <a:pt x="3895603" y="404974"/>
                  </a:lnTo>
                  <a:cubicBezTo>
                    <a:pt x="3896231" y="299179"/>
                    <a:pt x="3855733" y="199348"/>
                    <a:pt x="3781017" y="124318"/>
                  </a:cubicBezTo>
                  <a:cubicBezTo>
                    <a:pt x="3706615" y="49288"/>
                    <a:pt x="3607098" y="7848"/>
                    <a:pt x="3501302" y="7848"/>
                  </a:cubicBezTo>
                  <a:lnTo>
                    <a:pt x="1303139" y="7848"/>
                  </a:lnTo>
                  <a:cubicBezTo>
                    <a:pt x="1087466" y="7848"/>
                    <a:pt x="910721" y="183337"/>
                    <a:pt x="909152" y="399324"/>
                  </a:cubicBezTo>
                  <a:lnTo>
                    <a:pt x="906640" y="708548"/>
                  </a:lnTo>
                  <a:lnTo>
                    <a:pt x="1815792" y="708548"/>
                  </a:lnTo>
                  <a:cubicBezTo>
                    <a:pt x="2037743" y="708548"/>
                    <a:pt x="2217941" y="889060"/>
                    <a:pt x="2217941" y="1111011"/>
                  </a:cubicBezTo>
                  <a:lnTo>
                    <a:pt x="2217941" y="1787852"/>
                  </a:lnTo>
                  <a:cubicBezTo>
                    <a:pt x="2217941" y="2009489"/>
                    <a:pt x="2037743" y="2190001"/>
                    <a:pt x="1815792" y="2190001"/>
                  </a:cubicBezTo>
                  <a:lnTo>
                    <a:pt x="1293093" y="2190001"/>
                  </a:lnTo>
                  <a:cubicBezTo>
                    <a:pt x="1185100" y="2190001"/>
                    <a:pt x="1083699" y="2147934"/>
                    <a:pt x="1007727" y="2071334"/>
                  </a:cubicBezTo>
                  <a:cubicBezTo>
                    <a:pt x="931755" y="1994734"/>
                    <a:pt x="890002" y="1893020"/>
                    <a:pt x="890944" y="1785027"/>
                  </a:cubicBezTo>
                  <a:lnTo>
                    <a:pt x="898792" y="716711"/>
                  </a:lnTo>
                  <a:lnTo>
                    <a:pt x="0" y="716711"/>
                  </a:lnTo>
                  <a:lnTo>
                    <a:pt x="0" y="708548"/>
                  </a:lnTo>
                  <a:lnTo>
                    <a:pt x="898792" y="708548"/>
                  </a:lnTo>
                  <a:lnTo>
                    <a:pt x="900990" y="399010"/>
                  </a:lnTo>
                  <a:cubicBezTo>
                    <a:pt x="902559" y="178942"/>
                    <a:pt x="1083071" y="0"/>
                    <a:pt x="1303139" y="0"/>
                  </a:cubicBezTo>
                  <a:lnTo>
                    <a:pt x="3501302" y="0"/>
                  </a:lnTo>
                  <a:cubicBezTo>
                    <a:pt x="3609295" y="0"/>
                    <a:pt x="3710696" y="42067"/>
                    <a:pt x="3786668" y="118667"/>
                  </a:cubicBezTo>
                  <a:cubicBezTo>
                    <a:pt x="3862953" y="195267"/>
                    <a:pt x="3904393" y="296981"/>
                    <a:pt x="3903451" y="404974"/>
                  </a:cubicBezTo>
                  <a:lnTo>
                    <a:pt x="3893405" y="1785027"/>
                  </a:lnTo>
                  <a:cubicBezTo>
                    <a:pt x="3892777" y="1890822"/>
                    <a:pt x="3933275" y="1990339"/>
                    <a:pt x="4007991" y="2065683"/>
                  </a:cubicBezTo>
                  <a:cubicBezTo>
                    <a:pt x="4082393" y="2140714"/>
                    <a:pt x="4181910" y="2182153"/>
                    <a:pt x="4287706" y="2182153"/>
                  </a:cubicBezTo>
                  <a:lnTo>
                    <a:pt x="6538610" y="2182153"/>
                  </a:lnTo>
                  <a:close/>
                  <a:moveTo>
                    <a:pt x="906640" y="716397"/>
                  </a:moveTo>
                  <a:lnTo>
                    <a:pt x="898792" y="1784713"/>
                  </a:lnTo>
                  <a:cubicBezTo>
                    <a:pt x="898164" y="1890822"/>
                    <a:pt x="938662" y="1990339"/>
                    <a:pt x="1013378" y="2065369"/>
                  </a:cubicBezTo>
                  <a:cubicBezTo>
                    <a:pt x="1087780" y="2140714"/>
                    <a:pt x="1187297" y="2181839"/>
                    <a:pt x="1293093" y="2181839"/>
                  </a:cubicBezTo>
                  <a:lnTo>
                    <a:pt x="1815792" y="2181839"/>
                  </a:lnTo>
                  <a:cubicBezTo>
                    <a:pt x="2033348" y="2181839"/>
                    <a:pt x="2210093" y="2005094"/>
                    <a:pt x="2210093" y="1787852"/>
                  </a:cubicBezTo>
                  <a:lnTo>
                    <a:pt x="2210093" y="1110697"/>
                  </a:lnTo>
                  <a:cubicBezTo>
                    <a:pt x="2210093" y="893455"/>
                    <a:pt x="2033348" y="716397"/>
                    <a:pt x="1815792" y="71639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CA52308E-063A-BF02-371E-3CA411E49540}"/>
                </a:ext>
              </a:extLst>
            </p:cNvPr>
            <p:cNvSpPr/>
            <p:nvPr/>
          </p:nvSpPr>
          <p:spPr>
            <a:xfrm>
              <a:off x="-11929" y="605265"/>
              <a:ext cx="3006542" cy="5754089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055BA1E-A199-F231-88C9-88EC8FC98460}"/>
                </a:ext>
              </a:extLst>
            </p:cNvPr>
            <p:cNvSpPr/>
            <p:nvPr/>
          </p:nvSpPr>
          <p:spPr>
            <a:xfrm>
              <a:off x="-11929" y="-11928"/>
              <a:ext cx="2855226" cy="1262327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1316F8E-46F4-8DBE-B766-EA761100079C}"/>
                </a:ext>
              </a:extLst>
            </p:cNvPr>
            <p:cNvSpPr/>
            <p:nvPr/>
          </p:nvSpPr>
          <p:spPr>
            <a:xfrm>
              <a:off x="1983118" y="-11928"/>
              <a:ext cx="4049743" cy="2321539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039B8FD-D132-5C18-D08B-8F5F81372395}"/>
                </a:ext>
              </a:extLst>
            </p:cNvPr>
            <p:cNvSpPr/>
            <p:nvPr/>
          </p:nvSpPr>
          <p:spPr>
            <a:xfrm>
              <a:off x="-11929" y="4738829"/>
              <a:ext cx="1572807" cy="162052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7E12FCE-5E69-7E2A-E35F-BC58B0B477A0}"/>
                </a:ext>
              </a:extLst>
            </p:cNvPr>
            <p:cNvSpPr/>
            <p:nvPr/>
          </p:nvSpPr>
          <p:spPr>
            <a:xfrm>
              <a:off x="5081329" y="-11928"/>
              <a:ext cx="1899298" cy="3436631"/>
            </a:xfrm>
            <a:custGeom>
              <a:avLst/>
              <a:gdLst>
                <a:gd name="connsiteX0" fmla="*/ 1899299 w 1899298"/>
                <a:gd name="connsiteY0" fmla="*/ 3436632 h 3436631"/>
                <a:gd name="connsiteX1" fmla="*/ 402149 w 1899298"/>
                <a:gd name="connsiteY1" fmla="*/ 3436632 h 3436631"/>
                <a:gd name="connsiteX2" fmla="*/ 0 w 1899298"/>
                <a:gd name="connsiteY2" fmla="*/ 3034483 h 3436631"/>
                <a:gd name="connsiteX3" fmla="*/ 0 w 1899298"/>
                <a:gd name="connsiteY3" fmla="*/ 0 h 3436631"/>
                <a:gd name="connsiteX4" fmla="*/ 7848 w 1899298"/>
                <a:gd name="connsiteY4" fmla="*/ 0 h 3436631"/>
                <a:gd name="connsiteX5" fmla="*/ 7848 w 1899298"/>
                <a:gd name="connsiteY5" fmla="*/ 3034483 h 3436631"/>
                <a:gd name="connsiteX6" fmla="*/ 402149 w 1899298"/>
                <a:gd name="connsiteY6" fmla="*/ 3428469 h 3436631"/>
                <a:gd name="connsiteX7" fmla="*/ 1899299 w 1899298"/>
                <a:gd name="connsiteY7" fmla="*/ 3428469 h 343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9298" h="3436631">
                  <a:moveTo>
                    <a:pt x="1899299" y="3436632"/>
                  </a:moveTo>
                  <a:lnTo>
                    <a:pt x="402149" y="3436632"/>
                  </a:lnTo>
                  <a:cubicBezTo>
                    <a:pt x="180198" y="3436632"/>
                    <a:pt x="0" y="3256120"/>
                    <a:pt x="0" y="3034483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034483"/>
                  </a:lnTo>
                  <a:cubicBezTo>
                    <a:pt x="7848" y="3251725"/>
                    <a:pt x="184593" y="3428469"/>
                    <a:pt x="402149" y="3428469"/>
                  </a:cubicBezTo>
                  <a:lnTo>
                    <a:pt x="1899299" y="342846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501FCF3-E187-3C02-EB11-C01170B87EE2}"/>
                </a:ext>
              </a:extLst>
            </p:cNvPr>
            <p:cNvSpPr/>
            <p:nvPr/>
          </p:nvSpPr>
          <p:spPr>
            <a:xfrm>
              <a:off x="3607725" y="-11928"/>
              <a:ext cx="3508208" cy="1501230"/>
            </a:xfrm>
            <a:custGeom>
              <a:avLst/>
              <a:gdLst>
                <a:gd name="connsiteX0" fmla="*/ 3508209 w 3508208"/>
                <a:gd name="connsiteY0" fmla="*/ 1501231 h 1501230"/>
                <a:gd name="connsiteX1" fmla="*/ 402149 w 3508208"/>
                <a:gd name="connsiteY1" fmla="*/ 1501231 h 1501230"/>
                <a:gd name="connsiteX2" fmla="*/ 0 w 3508208"/>
                <a:gd name="connsiteY2" fmla="*/ 1099082 h 1501230"/>
                <a:gd name="connsiteX3" fmla="*/ 0 w 3508208"/>
                <a:gd name="connsiteY3" fmla="*/ 0 h 1501230"/>
                <a:gd name="connsiteX4" fmla="*/ 8163 w 3508208"/>
                <a:gd name="connsiteY4" fmla="*/ 0 h 1501230"/>
                <a:gd name="connsiteX5" fmla="*/ 8163 w 3508208"/>
                <a:gd name="connsiteY5" fmla="*/ 1099082 h 1501230"/>
                <a:gd name="connsiteX6" fmla="*/ 402149 w 3508208"/>
                <a:gd name="connsiteY6" fmla="*/ 1493382 h 1501230"/>
                <a:gd name="connsiteX7" fmla="*/ 3508209 w 3508208"/>
                <a:gd name="connsiteY7" fmla="*/ 1493382 h 150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08208" h="1501230">
                  <a:moveTo>
                    <a:pt x="3508209" y="1501231"/>
                  </a:moveTo>
                  <a:lnTo>
                    <a:pt x="402149" y="1501231"/>
                  </a:lnTo>
                  <a:cubicBezTo>
                    <a:pt x="180512" y="1501231"/>
                    <a:pt x="0" y="1320719"/>
                    <a:pt x="0" y="1099082"/>
                  </a:cubicBezTo>
                  <a:lnTo>
                    <a:pt x="0" y="0"/>
                  </a:lnTo>
                  <a:lnTo>
                    <a:pt x="8163" y="0"/>
                  </a:lnTo>
                  <a:lnTo>
                    <a:pt x="8163" y="1099082"/>
                  </a:lnTo>
                  <a:cubicBezTo>
                    <a:pt x="8163" y="1316324"/>
                    <a:pt x="184907" y="1493382"/>
                    <a:pt x="402149" y="1493382"/>
                  </a:cubicBezTo>
                  <a:lnTo>
                    <a:pt x="3508209" y="14933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FB7A069-3C22-6EEF-A6B8-6D3B5D3A33DA}"/>
                </a:ext>
              </a:extLst>
            </p:cNvPr>
            <p:cNvSpPr/>
            <p:nvPr/>
          </p:nvSpPr>
          <p:spPr>
            <a:xfrm>
              <a:off x="-11929" y="2556676"/>
              <a:ext cx="1903379" cy="7848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CED0FEE-747C-E659-7B19-7B85EE2CFE9D}"/>
                </a:ext>
              </a:extLst>
            </p:cNvPr>
            <p:cNvSpPr/>
            <p:nvPr/>
          </p:nvSpPr>
          <p:spPr>
            <a:xfrm>
              <a:off x="5981063" y="226189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70B63BD-8617-2B2B-63C7-C23939A1D4C1}"/>
                </a:ext>
              </a:extLst>
            </p:cNvPr>
            <p:cNvSpPr/>
            <p:nvPr/>
          </p:nvSpPr>
          <p:spPr>
            <a:xfrm>
              <a:off x="5049308" y="1115093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D69B7A3-3E0C-8F22-1C91-000149701C44}"/>
                </a:ext>
              </a:extLst>
            </p:cNvPr>
            <p:cNvSpPr/>
            <p:nvPr/>
          </p:nvSpPr>
          <p:spPr>
            <a:xfrm>
              <a:off x="5049308" y="1361845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9 w 71576"/>
                <a:gd name="connsiteY1" fmla="*/ 71577 h 71576"/>
                <a:gd name="connsiteX2" fmla="*/ 0 w 71576"/>
                <a:gd name="connsiteY2" fmla="*/ 35789 h 71576"/>
                <a:gd name="connsiteX3" fmla="*/ 35789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129580-8BD7-1002-C743-922D19889346}"/>
                </a:ext>
              </a:extLst>
            </p:cNvPr>
            <p:cNvSpPr/>
            <p:nvPr/>
          </p:nvSpPr>
          <p:spPr>
            <a:xfrm>
              <a:off x="5997074" y="1449432"/>
              <a:ext cx="71576" cy="71890"/>
            </a:xfrm>
            <a:custGeom>
              <a:avLst/>
              <a:gdLst>
                <a:gd name="connsiteX0" fmla="*/ 71577 w 71576"/>
                <a:gd name="connsiteY0" fmla="*/ 35788 h 71890"/>
                <a:gd name="connsiteX1" fmla="*/ 35788 w 71576"/>
                <a:gd name="connsiteY1" fmla="*/ 71891 h 71890"/>
                <a:gd name="connsiteX2" fmla="*/ 0 w 71576"/>
                <a:gd name="connsiteY2" fmla="*/ 35788 h 71890"/>
                <a:gd name="connsiteX3" fmla="*/ 35788 w 71576"/>
                <a:gd name="connsiteY3" fmla="*/ 0 h 71890"/>
                <a:gd name="connsiteX4" fmla="*/ 71577 w 71576"/>
                <a:gd name="connsiteY4" fmla="*/ 35788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5788"/>
                  </a:moveTo>
                  <a:cubicBezTo>
                    <a:pt x="71577" y="55566"/>
                    <a:pt x="55566" y="71891"/>
                    <a:pt x="35788" y="71891"/>
                  </a:cubicBezTo>
                  <a:cubicBezTo>
                    <a:pt x="16011" y="71891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A8FE95A-06FF-EDE0-24FA-B6EEB2E6EA2C}"/>
                </a:ext>
              </a:extLst>
            </p:cNvPr>
            <p:cNvSpPr/>
            <p:nvPr/>
          </p:nvSpPr>
          <p:spPr>
            <a:xfrm>
              <a:off x="5328081" y="2269741"/>
              <a:ext cx="71577" cy="71890"/>
            </a:xfrm>
            <a:custGeom>
              <a:avLst/>
              <a:gdLst>
                <a:gd name="connsiteX0" fmla="*/ 71577 w 71577"/>
                <a:gd name="connsiteY0" fmla="*/ 35789 h 71890"/>
                <a:gd name="connsiteX1" fmla="*/ 35789 w 71577"/>
                <a:gd name="connsiteY1" fmla="*/ 71891 h 71890"/>
                <a:gd name="connsiteX2" fmla="*/ 0 w 71577"/>
                <a:gd name="connsiteY2" fmla="*/ 35789 h 71890"/>
                <a:gd name="connsiteX3" fmla="*/ 35789 w 71577"/>
                <a:gd name="connsiteY3" fmla="*/ 0 h 71890"/>
                <a:gd name="connsiteX4" fmla="*/ 71577 w 71577"/>
                <a:gd name="connsiteY4" fmla="*/ 35789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5789"/>
                  </a:moveTo>
                  <a:cubicBezTo>
                    <a:pt x="71577" y="55566"/>
                    <a:pt x="55566" y="71891"/>
                    <a:pt x="35789" y="71891"/>
                  </a:cubicBezTo>
                  <a:cubicBezTo>
                    <a:pt x="16011" y="71891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933B5F-BEE9-C41C-8342-6B61788ED4E7}"/>
                </a:ext>
              </a:extLst>
            </p:cNvPr>
            <p:cNvSpPr/>
            <p:nvPr/>
          </p:nvSpPr>
          <p:spPr>
            <a:xfrm>
              <a:off x="3145928" y="700700"/>
              <a:ext cx="71577" cy="71890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1C8822E-2355-7676-D8D7-48B85241FB90}"/>
                </a:ext>
              </a:extLst>
            </p:cNvPr>
            <p:cNvSpPr/>
            <p:nvPr/>
          </p:nvSpPr>
          <p:spPr>
            <a:xfrm>
              <a:off x="1680486" y="1210529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0F09F46-B5AF-8B00-0BB9-A9D4D299E681}"/>
                </a:ext>
              </a:extLst>
            </p:cNvPr>
            <p:cNvSpPr/>
            <p:nvPr/>
          </p:nvSpPr>
          <p:spPr>
            <a:xfrm>
              <a:off x="2954743" y="2668122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89F6BF9-A5A3-F18C-EF74-AA7C83BE81AA}"/>
                </a:ext>
              </a:extLst>
            </p:cNvPr>
            <p:cNvSpPr/>
            <p:nvPr/>
          </p:nvSpPr>
          <p:spPr>
            <a:xfrm>
              <a:off x="788601" y="2524655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F98C0F8-0A76-7F28-6632-32250067AC6C}"/>
                </a:ext>
              </a:extLst>
            </p:cNvPr>
            <p:cNvSpPr/>
            <p:nvPr/>
          </p:nvSpPr>
          <p:spPr>
            <a:xfrm>
              <a:off x="2954743" y="2914874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9D29BA7-D867-1395-E65A-58EDBE2B386B}"/>
                </a:ext>
              </a:extLst>
            </p:cNvPr>
            <p:cNvSpPr/>
            <p:nvPr/>
          </p:nvSpPr>
          <p:spPr>
            <a:xfrm>
              <a:off x="2166142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6102 w 71890"/>
                <a:gd name="connsiteY1" fmla="*/ 71577 h 71576"/>
                <a:gd name="connsiteX2" fmla="*/ 0 w 71890"/>
                <a:gd name="connsiteY2" fmla="*/ 35789 h 71576"/>
                <a:gd name="connsiteX3" fmla="*/ 36102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6102" y="71577"/>
                  </a:cubicBezTo>
                  <a:cubicBezTo>
                    <a:pt x="16325" y="71577"/>
                    <a:pt x="0" y="55566"/>
                    <a:pt x="0" y="35789"/>
                  </a:cubicBezTo>
                  <a:cubicBezTo>
                    <a:pt x="0" y="16011"/>
                    <a:pt x="16325" y="0"/>
                    <a:pt x="36102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10BCA80-D821-799C-9116-DD4F4D396771}"/>
                </a:ext>
              </a:extLst>
            </p:cNvPr>
            <p:cNvSpPr/>
            <p:nvPr/>
          </p:nvSpPr>
          <p:spPr>
            <a:xfrm>
              <a:off x="3846629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5788 w 71890"/>
                <a:gd name="connsiteY1" fmla="*/ 71577 h 71576"/>
                <a:gd name="connsiteX2" fmla="*/ 0 w 71890"/>
                <a:gd name="connsiteY2" fmla="*/ 35789 h 71576"/>
                <a:gd name="connsiteX3" fmla="*/ 35788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8CF7C9-B5C1-5EBC-5141-9BAE6F0C25BB}"/>
                </a:ext>
              </a:extLst>
            </p:cNvPr>
            <p:cNvSpPr/>
            <p:nvPr/>
          </p:nvSpPr>
          <p:spPr>
            <a:xfrm>
              <a:off x="1521322" y="5789879"/>
              <a:ext cx="71576" cy="71890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A5209B1-59AF-4312-B7E1-F4ECC617C5D2}"/>
                </a:ext>
              </a:extLst>
            </p:cNvPr>
            <p:cNvSpPr/>
            <p:nvPr/>
          </p:nvSpPr>
          <p:spPr>
            <a:xfrm>
              <a:off x="1839651" y="2508644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6D5BFDF-796E-2185-2725-D7501597FFEF}"/>
                </a:ext>
              </a:extLst>
            </p:cNvPr>
            <p:cNvSpPr/>
            <p:nvPr/>
          </p:nvSpPr>
          <p:spPr>
            <a:xfrm>
              <a:off x="7064134" y="143342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2" y="103598"/>
                    <a:pt x="0" y="80367"/>
                    <a:pt x="0" y="51799"/>
                  </a:cubicBezTo>
                  <a:cubicBezTo>
                    <a:pt x="0" y="23231"/>
                    <a:pt x="23232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5DC5866-8DF3-ED4B-02F3-8A6DC5F72F32}"/>
                </a:ext>
              </a:extLst>
            </p:cNvPr>
            <p:cNvSpPr/>
            <p:nvPr/>
          </p:nvSpPr>
          <p:spPr>
            <a:xfrm>
              <a:off x="6928829" y="336882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6816B4A-9C8F-AB72-7D3D-F7ED1F13A621}"/>
                </a:ext>
              </a:extLst>
            </p:cNvPr>
            <p:cNvSpPr/>
            <p:nvPr userDrawn="1"/>
          </p:nvSpPr>
          <p:spPr>
            <a:xfrm>
              <a:off x="6474881" y="538817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725507979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EED7599-45E9-E81C-7112-83575BD698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11588400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1FCEE9DA-A700-710D-67F3-B461A76FAE3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6614" y="1498210"/>
            <a:ext cx="11588400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9606273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EED7599-45E9-E81C-7112-83575BD698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55626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D6444254-BD1A-2B96-DF6D-3CCD0E0AE0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711" y="1137046"/>
            <a:ext cx="55626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717D85FB-E949-9F48-AC61-E6747123260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6614" y="1483696"/>
            <a:ext cx="5560786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83E80F40-3852-6136-632A-F1EDD262055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3931" y="1483696"/>
            <a:ext cx="5560786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2297950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8DD0E1C2-D6F1-FD65-A29C-A54A75C39D1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6614" y="1125538"/>
            <a:ext cx="5560786" cy="5044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54ACB2-966D-2615-B29D-FCCE6C627DD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3931" y="1125538"/>
            <a:ext cx="5560786" cy="5044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7668144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1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0AAE6EA-3529-712C-28E1-FA69D9B2779C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C3201FA-6BC8-A707-BD84-487DA1CA2831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29E5870-85C7-8B9B-2AD9-6D57CC5F9990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6B618F0-E73C-8DDB-A01B-A9A1A689CF02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5BBC180-4C7F-C795-ECDB-5351959B62E7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84AE5B3-DB96-FB43-3069-10342A377DB6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9EC431-4281-D797-F164-648FA0DEDA31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061D93-2787-3100-394C-4E073F83F43F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6D0B125-509C-6D08-7DA5-E75CC1CCCAD0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45C9367-CE92-4AF0-F2C3-97A8B64D2F86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F4A5448-C53C-1FC5-FEB9-6805ECC0FEF6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727884E-92BE-C41C-0F33-06CABFCDC456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6BDE9C-3AA0-730E-A4C2-5101D89FD4ED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3E7CF39-3F16-69A8-03CE-CFF435C05DE8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3116CCC2-94A4-109D-68D7-3FDEAE7A9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676400"/>
            <a:ext cx="5562602" cy="4493899"/>
          </a:xfrm>
          <a:prstGeom prst="round2SameRect">
            <a:avLst>
              <a:gd name="adj1" fmla="val 0"/>
              <a:gd name="adj2" fmla="val 6368"/>
            </a:avLst>
          </a:prstGeom>
          <a:gradFill>
            <a:gsLst>
              <a:gs pos="100000">
                <a:schemeClr val="accent6">
                  <a:lumMod val="20000"/>
                  <a:lumOff val="80000"/>
                  <a:alpha val="39000"/>
                </a:schemeClr>
              </a:gs>
              <a:gs pos="77700">
                <a:srgbClr val="F2F2F2">
                  <a:alpha val="45000"/>
                </a:srgbClr>
              </a:gs>
              <a:gs pos="0">
                <a:schemeClr val="bg1"/>
              </a:gs>
            </a:gsLst>
            <a:lin ang="5400000" scaled="0"/>
          </a:gradFill>
        </p:spPr>
        <p:txBody>
          <a:bodyPr lIns="108000" tIns="108000"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FDFBF4A-7428-4C70-530C-5AAF83BAEE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3754"/>
            <a:ext cx="5562602" cy="542646"/>
          </a:xfrm>
          <a:prstGeom prst="round1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180000" tIns="0" rIns="12600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626EEDA6-DB25-F68D-6C9E-67F47B251E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35711" y="1682698"/>
            <a:ext cx="5562602" cy="4493899"/>
          </a:xfrm>
          <a:prstGeom prst="round2SameRect">
            <a:avLst>
              <a:gd name="adj1" fmla="val 0"/>
              <a:gd name="adj2" fmla="val 6368"/>
            </a:avLst>
          </a:prstGeom>
          <a:gradFill>
            <a:gsLst>
              <a:gs pos="100000">
                <a:schemeClr val="accent6">
                  <a:lumMod val="20000"/>
                  <a:lumOff val="80000"/>
                  <a:alpha val="39000"/>
                </a:schemeClr>
              </a:gs>
              <a:gs pos="77700">
                <a:srgbClr val="F2F2F2">
                  <a:alpha val="45000"/>
                </a:srgbClr>
              </a:gs>
              <a:gs pos="0">
                <a:schemeClr val="bg1"/>
              </a:gs>
            </a:gsLst>
            <a:lin ang="5400000" scaled="0"/>
          </a:gradFill>
        </p:spPr>
        <p:txBody>
          <a:bodyPr lIns="108000" tIns="108000"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BF195B2F-A4CD-F505-9F7B-1CEDB2F0DF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711" y="1140052"/>
            <a:ext cx="5562602" cy="542646"/>
          </a:xfrm>
          <a:prstGeom prst="round1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180000" tIns="0" rIns="12600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0773028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(no lines artwo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1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0AAE6EA-3529-712C-28E1-FA69D9B2779C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C3201FA-6BC8-A707-BD84-487DA1CA2831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29E5870-85C7-8B9B-2AD9-6D57CC5F9990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6B618F0-E73C-8DDB-A01B-A9A1A689CF02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5BBC180-4C7F-C795-ECDB-5351959B62E7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84AE5B3-DB96-FB43-3069-10342A377DB6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9EC431-4281-D797-F164-648FA0DEDA31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061D93-2787-3100-394C-4E073F83F43F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6D0B125-509C-6D08-7DA5-E75CC1CCCAD0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45C9367-CE92-4AF0-F2C3-97A8B64D2F86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F4A5448-C53C-1FC5-FEB9-6805ECC0FEF6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727884E-92BE-C41C-0F33-06CABFCDC456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6BDE9C-3AA0-730E-A4C2-5101D89FD4ED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3E7CF39-3F16-69A8-03CE-CFF435C05DE8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3116CCC2-94A4-109D-68D7-3FDEAE7A9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676400"/>
            <a:ext cx="5562602" cy="4493899"/>
          </a:xfrm>
          <a:prstGeom prst="round2SameRect">
            <a:avLst>
              <a:gd name="adj1" fmla="val 0"/>
              <a:gd name="adj2" fmla="val 6368"/>
            </a:avLst>
          </a:prstGeom>
          <a:gradFill>
            <a:gsLst>
              <a:gs pos="100000">
                <a:schemeClr val="accent6">
                  <a:lumMod val="20000"/>
                  <a:lumOff val="80000"/>
                  <a:alpha val="39000"/>
                </a:schemeClr>
              </a:gs>
              <a:gs pos="77700">
                <a:srgbClr val="F2F2F2">
                  <a:alpha val="45000"/>
                </a:srgbClr>
              </a:gs>
              <a:gs pos="0">
                <a:schemeClr val="bg1"/>
              </a:gs>
            </a:gsLst>
            <a:lin ang="5400000" scaled="0"/>
          </a:gradFill>
        </p:spPr>
        <p:txBody>
          <a:bodyPr lIns="108000" tIns="108000"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FDFBF4A-7428-4C70-530C-5AAF83BAEE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3754"/>
            <a:ext cx="5562602" cy="542646"/>
          </a:xfrm>
          <a:prstGeom prst="round1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180000" tIns="0" rIns="12600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626EEDA6-DB25-F68D-6C9E-67F47B251E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35711" y="1682698"/>
            <a:ext cx="5562602" cy="4493899"/>
          </a:xfrm>
          <a:prstGeom prst="round2SameRect">
            <a:avLst>
              <a:gd name="adj1" fmla="val 0"/>
              <a:gd name="adj2" fmla="val 6368"/>
            </a:avLst>
          </a:prstGeom>
          <a:gradFill>
            <a:gsLst>
              <a:gs pos="100000">
                <a:schemeClr val="accent6">
                  <a:lumMod val="20000"/>
                  <a:lumOff val="80000"/>
                  <a:alpha val="39000"/>
                </a:schemeClr>
              </a:gs>
              <a:gs pos="77700">
                <a:srgbClr val="F2F2F2">
                  <a:alpha val="45000"/>
                </a:srgbClr>
              </a:gs>
              <a:gs pos="0">
                <a:schemeClr val="bg1"/>
              </a:gs>
            </a:gsLst>
            <a:lin ang="5400000" scaled="0"/>
          </a:gradFill>
        </p:spPr>
        <p:txBody>
          <a:bodyPr lIns="108000" tIns="108000"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BF195B2F-A4CD-F505-9F7B-1CEDB2F0DF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711" y="1140052"/>
            <a:ext cx="5562602" cy="542646"/>
          </a:xfrm>
          <a:prstGeom prst="round1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180000" tIns="0" rIns="12600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8803141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EED7599-45E9-E81C-7112-83575BD698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370998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D6444254-BD1A-2B96-DF6D-3CCD0E0AE0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41005" y="1138947"/>
            <a:ext cx="370998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021D3670-6B4B-685E-316E-EC90949082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77212" y="1137046"/>
            <a:ext cx="370998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EB4C580-5B1A-527A-BD8B-6BA3CEC9033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06614" y="1485596"/>
            <a:ext cx="3709989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6A02549-8E07-5A47-8E8E-EACD6129345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241004" y="1485596"/>
            <a:ext cx="3709989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F6439200-7344-D66F-8B4B-D67D2E07FC0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8324" y="1485596"/>
            <a:ext cx="3709989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126202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89AD339D-749A-02D4-E01F-5DACACF523A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6614" y="1125538"/>
            <a:ext cx="5560786" cy="23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46DB8F43-4A8B-29EF-0B33-8BD81E7CEBE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3931" y="1125538"/>
            <a:ext cx="5560786" cy="23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97BAABF-4699-8ADF-0F24-EC954494846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10210" y="3778024"/>
            <a:ext cx="5560786" cy="23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F9A29D43-BB82-AF5E-48FB-2B9FCC274FB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7527" y="3778024"/>
            <a:ext cx="5560786" cy="23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1216478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ontent and importan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41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: Single Corner Rounded 16">
            <a:extLst>
              <a:ext uri="{FF2B5EF4-FFF2-40B4-BE49-F238E27FC236}">
                <a16:creationId xmlns:a16="http://schemas.microsoft.com/office/drawing/2014/main" id="{4AA4E692-82E8-19F0-8F03-F1FB95E2032E}"/>
              </a:ext>
            </a:extLst>
          </p:cNvPr>
          <p:cNvSpPr/>
          <p:nvPr userDrawn="1"/>
        </p:nvSpPr>
        <p:spPr>
          <a:xfrm flipH="1">
            <a:off x="7886700" y="1"/>
            <a:ext cx="4305298" cy="6858000"/>
          </a:xfrm>
          <a:prstGeom prst="round1Rect">
            <a:avLst>
              <a:gd name="adj" fmla="val 2933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483696"/>
            <a:ext cx="7271658" cy="46866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7271658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pic>
        <p:nvPicPr>
          <p:cNvPr id="26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686F2FA9-BA0A-B35B-7432-6159E95D20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961" y="6237798"/>
            <a:ext cx="1016574" cy="72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0C5B88C-EC64-8D88-0137-0603531E8450}"/>
              </a:ext>
            </a:extLst>
          </p:cNvPr>
          <p:cNvGrpSpPr/>
          <p:nvPr userDrawn="1"/>
        </p:nvGrpSpPr>
        <p:grpSpPr>
          <a:xfrm>
            <a:off x="7038975" y="1472796"/>
            <a:ext cx="5153025" cy="5385204"/>
            <a:chOff x="5618264" y="-11928"/>
            <a:chExt cx="6573736" cy="6869928"/>
          </a:xfrm>
          <a:solidFill>
            <a:schemeClr val="bg1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4B6C611-4A08-61CB-5F66-D3AAF5279931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E24EC28-8317-913A-4536-2662E032132C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0BCCBD1-A858-BCBB-5C5D-0B8A5FA2EE13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B74332B-8C22-464D-6E90-8B577A144F31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94C77F0-1BD6-5D1C-9D33-6E946844A69F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AD959DC-FBEC-0352-40E1-06A693C19103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48C7C39-A3C0-5158-D723-D93CACB66544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3F6FBE-FFE9-EDAA-C5A5-BCAFF49ACDEA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3C1C918-757A-BE5F-B880-1EFB8F891F0B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53A329A-8C98-3A49-F260-C7D0255BF5DA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AF54B2-4E6C-04EB-459D-31E28FE4F468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1FE537E-9809-79CA-0A2C-A7D1DAE94922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0479640-B524-5BD4-66DF-15DAC7122158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896993E-63C5-DE8F-D809-74C1477DE2BB}"/>
              </a:ext>
            </a:extLst>
          </p:cNvPr>
          <p:cNvGrpSpPr/>
          <p:nvPr userDrawn="1"/>
        </p:nvGrpSpPr>
        <p:grpSpPr>
          <a:xfrm flipV="1">
            <a:off x="7038973" y="0"/>
            <a:ext cx="5153025" cy="5441232"/>
            <a:chOff x="5618264" y="-11928"/>
            <a:chExt cx="6573736" cy="6869928"/>
          </a:xfrm>
          <a:solidFill>
            <a:schemeClr val="bg1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F0B2C07-E649-A2C3-0878-289F608723C1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A72DBCC-2FAC-E434-1C84-552D1071FBD8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CFFDE67-8CC6-C989-FE4C-C88CE8EC03A0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CC84378-5040-89E9-5F04-602D6E43238D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2488120-0FF3-77EE-1A33-9FD039544B39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965423E-803F-1A7E-E0D0-A84CFAD214D7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CBD2F69-B850-0873-A02D-13744F2B9592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B60CDAB-5956-9AA7-5B9B-7D1A7FFAB53B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F4A3299-5906-605A-D5D4-7043BD622ECC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51FA701-504E-1F72-B86E-4D5258E94AC6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B05EBEA-D454-812D-514F-718BF0C93773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2BD8E32-6D64-0B20-FB44-9B06C88E15F2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054C5C7-F1C1-F2EB-8996-1DB614C84CEB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1" name="Content Placeholder 23">
            <a:extLst>
              <a:ext uri="{FF2B5EF4-FFF2-40B4-BE49-F238E27FC236}">
                <a16:creationId xmlns:a16="http://schemas.microsoft.com/office/drawing/2014/main" id="{24C40B72-2E99-6338-FA93-50D04742494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099425" y="1125537"/>
            <a:ext cx="3798888" cy="5044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7406522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and importan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01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46198" y="2329154"/>
            <a:ext cx="4978402" cy="2997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46198" y="1982503"/>
            <a:ext cx="49784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Rectangle: Single Corner Rounded 6">
            <a:extLst>
              <a:ext uri="{FF2B5EF4-FFF2-40B4-BE49-F238E27FC236}">
                <a16:creationId xmlns:a16="http://schemas.microsoft.com/office/drawing/2014/main" id="{87FC1D77-4337-A692-AC2B-A92F62311AF7}"/>
              </a:ext>
            </a:extLst>
          </p:cNvPr>
          <p:cNvSpPr/>
          <p:nvPr userDrawn="1"/>
        </p:nvSpPr>
        <p:spPr>
          <a:xfrm rot="10800000">
            <a:off x="8127997" y="-2"/>
            <a:ext cx="4063999" cy="5326742"/>
          </a:xfrm>
          <a:prstGeom prst="round1Rect">
            <a:avLst>
              <a:gd name="adj" fmla="val 255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1D32F29-21E6-7B16-EE5E-1CBAC50D1258}"/>
              </a:ext>
            </a:extLst>
          </p:cNvPr>
          <p:cNvGrpSpPr/>
          <p:nvPr userDrawn="1"/>
        </p:nvGrpSpPr>
        <p:grpSpPr>
          <a:xfrm>
            <a:off x="7083504" y="-11928"/>
            <a:ext cx="5108495" cy="5338668"/>
            <a:chOff x="7083504" y="-11928"/>
            <a:chExt cx="5108495" cy="533866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5C27B8C-4C5D-018B-77D8-502E57BCABBE}"/>
                </a:ext>
              </a:extLst>
            </p:cNvPr>
            <p:cNvSpPr/>
            <p:nvPr/>
          </p:nvSpPr>
          <p:spPr>
            <a:xfrm rot="10800000">
              <a:off x="10874102" y="-11928"/>
              <a:ext cx="1317897" cy="1357882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bg1"/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8FB9FE9-EABC-22F3-DC28-819A274D5C86}"/>
                </a:ext>
              </a:extLst>
            </p:cNvPr>
            <p:cNvSpPr/>
            <p:nvPr/>
          </p:nvSpPr>
          <p:spPr>
            <a:xfrm rot="10800000">
              <a:off x="10847272" y="405012"/>
              <a:ext cx="59976" cy="60238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bg1"/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23AAED5-39C9-152C-2B2C-A93823B3865F}"/>
                </a:ext>
              </a:extLst>
            </p:cNvPr>
            <p:cNvGrpSpPr/>
            <p:nvPr userDrawn="1"/>
          </p:nvGrpSpPr>
          <p:grpSpPr>
            <a:xfrm>
              <a:off x="7083504" y="3338057"/>
              <a:ext cx="5108495" cy="1988683"/>
              <a:chOff x="7083504" y="3338057"/>
              <a:chExt cx="5108495" cy="1988683"/>
            </a:xfrm>
          </p:grpSpPr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330FE1EA-DB16-AF35-F75C-EDC39CAAF556}"/>
                  </a:ext>
                </a:extLst>
              </p:cNvPr>
              <p:cNvSpPr/>
              <p:nvPr/>
            </p:nvSpPr>
            <p:spPr>
              <a:xfrm rot="10800000">
                <a:off x="9799529" y="4269002"/>
                <a:ext cx="2392470" cy="1057738"/>
              </a:xfrm>
              <a:custGeom>
                <a:avLst/>
                <a:gdLst>
                  <a:gd name="connsiteX0" fmla="*/ 2453078 w 2855226"/>
                  <a:gd name="connsiteY0" fmla="*/ 1262327 h 1262327"/>
                  <a:gd name="connsiteX1" fmla="*/ 0 w 2855226"/>
                  <a:gd name="connsiteY1" fmla="*/ 1262327 h 1262327"/>
                  <a:gd name="connsiteX2" fmla="*/ 0 w 2855226"/>
                  <a:gd name="connsiteY2" fmla="*/ 1254479 h 1262327"/>
                  <a:gd name="connsiteX3" fmla="*/ 2453078 w 2855226"/>
                  <a:gd name="connsiteY3" fmla="*/ 1254479 h 1262327"/>
                  <a:gd name="connsiteX4" fmla="*/ 2847064 w 2855226"/>
                  <a:gd name="connsiteY4" fmla="*/ 860178 h 1262327"/>
                  <a:gd name="connsiteX5" fmla="*/ 2847064 w 2855226"/>
                  <a:gd name="connsiteY5" fmla="*/ 0 h 1262327"/>
                  <a:gd name="connsiteX6" fmla="*/ 2855227 w 2855226"/>
                  <a:gd name="connsiteY6" fmla="*/ 0 h 1262327"/>
                  <a:gd name="connsiteX7" fmla="*/ 2855227 w 2855226"/>
                  <a:gd name="connsiteY7" fmla="*/ 860178 h 1262327"/>
                  <a:gd name="connsiteX8" fmla="*/ 2453078 w 2855226"/>
                  <a:gd name="connsiteY8" fmla="*/ 1262327 h 1262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5226" h="1262327">
                    <a:moveTo>
                      <a:pt x="2453078" y="1262327"/>
                    </a:moveTo>
                    <a:lnTo>
                      <a:pt x="0" y="1262327"/>
                    </a:lnTo>
                    <a:lnTo>
                      <a:pt x="0" y="1254479"/>
                    </a:lnTo>
                    <a:lnTo>
                      <a:pt x="2453078" y="1254479"/>
                    </a:lnTo>
                    <a:cubicBezTo>
                      <a:pt x="2670320" y="1254479"/>
                      <a:pt x="2847064" y="1077420"/>
                      <a:pt x="2847064" y="860178"/>
                    </a:cubicBezTo>
                    <a:lnTo>
                      <a:pt x="2847064" y="0"/>
                    </a:lnTo>
                    <a:lnTo>
                      <a:pt x="2855227" y="0"/>
                    </a:lnTo>
                    <a:lnTo>
                      <a:pt x="2855227" y="860178"/>
                    </a:lnTo>
                    <a:cubicBezTo>
                      <a:pt x="2855227" y="1081815"/>
                      <a:pt x="2674715" y="1262327"/>
                      <a:pt x="2453078" y="126232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6E65EEB4-B5EB-02C0-7A87-C4683ED6255A}"/>
                  </a:ext>
                </a:extLst>
              </p:cNvPr>
              <p:cNvSpPr/>
              <p:nvPr/>
            </p:nvSpPr>
            <p:spPr>
              <a:xfrm rot="10800000">
                <a:off x="7126908" y="3381461"/>
                <a:ext cx="3393388" cy="1945279"/>
              </a:xfrm>
              <a:custGeom>
                <a:avLst/>
                <a:gdLst>
                  <a:gd name="connsiteX0" fmla="*/ 4049744 w 4049743"/>
                  <a:gd name="connsiteY0" fmla="*/ 2321539 h 2321539"/>
                  <a:gd name="connsiteX1" fmla="*/ 2600312 w 4049743"/>
                  <a:gd name="connsiteY1" fmla="*/ 2321539 h 2321539"/>
                  <a:gd name="connsiteX2" fmla="*/ 2198164 w 4049743"/>
                  <a:gd name="connsiteY2" fmla="*/ 1919390 h 2321539"/>
                  <a:gd name="connsiteX3" fmla="*/ 2198164 w 4049743"/>
                  <a:gd name="connsiteY3" fmla="*/ 1146800 h 2321539"/>
                  <a:gd name="connsiteX4" fmla="*/ 1803863 w 4049743"/>
                  <a:gd name="connsiteY4" fmla="*/ 752499 h 2321539"/>
                  <a:gd name="connsiteX5" fmla="*/ 402149 w 4049743"/>
                  <a:gd name="connsiteY5" fmla="*/ 752499 h 2321539"/>
                  <a:gd name="connsiteX6" fmla="*/ 0 w 4049743"/>
                  <a:gd name="connsiteY6" fmla="*/ 350350 h 2321539"/>
                  <a:gd name="connsiteX7" fmla="*/ 0 w 4049743"/>
                  <a:gd name="connsiteY7" fmla="*/ 0 h 2321539"/>
                  <a:gd name="connsiteX8" fmla="*/ 7848 w 4049743"/>
                  <a:gd name="connsiteY8" fmla="*/ 0 h 2321539"/>
                  <a:gd name="connsiteX9" fmla="*/ 7848 w 4049743"/>
                  <a:gd name="connsiteY9" fmla="*/ 350350 h 2321539"/>
                  <a:gd name="connsiteX10" fmla="*/ 402149 w 4049743"/>
                  <a:gd name="connsiteY10" fmla="*/ 744651 h 2321539"/>
                  <a:gd name="connsiteX11" fmla="*/ 1803863 w 4049743"/>
                  <a:gd name="connsiteY11" fmla="*/ 744651 h 2321539"/>
                  <a:gd name="connsiteX12" fmla="*/ 2206012 w 4049743"/>
                  <a:gd name="connsiteY12" fmla="*/ 1146800 h 2321539"/>
                  <a:gd name="connsiteX13" fmla="*/ 2206012 w 4049743"/>
                  <a:gd name="connsiteY13" fmla="*/ 1919390 h 2321539"/>
                  <a:gd name="connsiteX14" fmla="*/ 2600312 w 4049743"/>
                  <a:gd name="connsiteY14" fmla="*/ 2313691 h 2321539"/>
                  <a:gd name="connsiteX15" fmla="*/ 4049744 w 4049743"/>
                  <a:gd name="connsiteY15" fmla="*/ 2313691 h 2321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049743" h="2321539">
                    <a:moveTo>
                      <a:pt x="4049744" y="2321539"/>
                    </a:moveTo>
                    <a:lnTo>
                      <a:pt x="2600312" y="2321539"/>
                    </a:lnTo>
                    <a:cubicBezTo>
                      <a:pt x="2378675" y="2321539"/>
                      <a:pt x="2198164" y="2141028"/>
                      <a:pt x="2198164" y="1919390"/>
                    </a:cubicBezTo>
                    <a:lnTo>
                      <a:pt x="2198164" y="1146800"/>
                    </a:lnTo>
                    <a:cubicBezTo>
                      <a:pt x="2198164" y="929557"/>
                      <a:pt x="2021105" y="752499"/>
                      <a:pt x="1803863" y="752499"/>
                    </a:cubicBezTo>
                    <a:lnTo>
                      <a:pt x="402149" y="752499"/>
                    </a:lnTo>
                    <a:cubicBezTo>
                      <a:pt x="180512" y="752499"/>
                      <a:pt x="0" y="572301"/>
                      <a:pt x="0" y="350350"/>
                    </a:cubicBezTo>
                    <a:lnTo>
                      <a:pt x="0" y="0"/>
                    </a:lnTo>
                    <a:lnTo>
                      <a:pt x="7848" y="0"/>
                    </a:lnTo>
                    <a:lnTo>
                      <a:pt x="7848" y="350350"/>
                    </a:lnTo>
                    <a:cubicBezTo>
                      <a:pt x="7848" y="567906"/>
                      <a:pt x="184907" y="744651"/>
                      <a:pt x="402149" y="744651"/>
                    </a:cubicBezTo>
                    <a:lnTo>
                      <a:pt x="1803863" y="744651"/>
                    </a:lnTo>
                    <a:cubicBezTo>
                      <a:pt x="2025500" y="744651"/>
                      <a:pt x="2206012" y="925162"/>
                      <a:pt x="2206012" y="1146800"/>
                    </a:cubicBezTo>
                    <a:lnTo>
                      <a:pt x="2206012" y="1919390"/>
                    </a:lnTo>
                    <a:cubicBezTo>
                      <a:pt x="2206012" y="2136632"/>
                      <a:pt x="2383071" y="2313691"/>
                      <a:pt x="2600312" y="2313691"/>
                    </a:cubicBezTo>
                    <a:lnTo>
                      <a:pt x="4049744" y="2313691"/>
                    </a:ln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74FE431F-B007-0C81-9047-FF18B34B964A}"/>
                  </a:ext>
                </a:extLst>
              </p:cNvPr>
              <p:cNvSpPr/>
              <p:nvPr/>
            </p:nvSpPr>
            <p:spPr>
              <a:xfrm rot="10800000">
                <a:off x="9485970" y="4669371"/>
                <a:ext cx="59976" cy="60238"/>
              </a:xfrm>
              <a:custGeom>
                <a:avLst/>
                <a:gdLst>
                  <a:gd name="connsiteX0" fmla="*/ 71577 w 71577"/>
                  <a:gd name="connsiteY0" fmla="*/ 36102 h 71890"/>
                  <a:gd name="connsiteX1" fmla="*/ 35789 w 71577"/>
                  <a:gd name="connsiteY1" fmla="*/ 71891 h 71890"/>
                  <a:gd name="connsiteX2" fmla="*/ 0 w 71577"/>
                  <a:gd name="connsiteY2" fmla="*/ 36102 h 71890"/>
                  <a:gd name="connsiteX3" fmla="*/ 35789 w 71577"/>
                  <a:gd name="connsiteY3" fmla="*/ 0 h 71890"/>
                  <a:gd name="connsiteX4" fmla="*/ 71577 w 71577"/>
                  <a:gd name="connsiteY4" fmla="*/ 36102 h 7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7" h="71890">
                    <a:moveTo>
                      <a:pt x="71577" y="36102"/>
                    </a:moveTo>
                    <a:cubicBezTo>
                      <a:pt x="71577" y="55880"/>
                      <a:pt x="55566" y="71891"/>
                      <a:pt x="35789" y="71891"/>
                    </a:cubicBezTo>
                    <a:cubicBezTo>
                      <a:pt x="16011" y="71891"/>
                      <a:pt x="0" y="55880"/>
                      <a:pt x="0" y="36102"/>
                    </a:cubicBezTo>
                    <a:cubicBezTo>
                      <a:pt x="0" y="16325"/>
                      <a:pt x="16011" y="0"/>
                      <a:pt x="35789" y="0"/>
                    </a:cubicBezTo>
                    <a:cubicBezTo>
                      <a:pt x="55566" y="0"/>
                      <a:pt x="71577" y="16325"/>
                      <a:pt x="71577" y="3610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F48A92FA-BF08-7CAD-A55F-3A2CAF1D46EB}"/>
                  </a:ext>
                </a:extLst>
              </p:cNvPr>
              <p:cNvSpPr/>
              <p:nvPr/>
            </p:nvSpPr>
            <p:spPr>
              <a:xfrm rot="10800000">
                <a:off x="10713904" y="4242435"/>
                <a:ext cx="59976" cy="59976"/>
              </a:xfrm>
              <a:custGeom>
                <a:avLst/>
                <a:gdLst>
                  <a:gd name="connsiteX0" fmla="*/ 71577 w 71576"/>
                  <a:gd name="connsiteY0" fmla="*/ 35788 h 71576"/>
                  <a:gd name="connsiteX1" fmla="*/ 35789 w 71576"/>
                  <a:gd name="connsiteY1" fmla="*/ 71577 h 71576"/>
                  <a:gd name="connsiteX2" fmla="*/ 0 w 71576"/>
                  <a:gd name="connsiteY2" fmla="*/ 35788 h 71576"/>
                  <a:gd name="connsiteX3" fmla="*/ 35789 w 71576"/>
                  <a:gd name="connsiteY3" fmla="*/ 0 h 71576"/>
                  <a:gd name="connsiteX4" fmla="*/ 71577 w 71576"/>
                  <a:gd name="connsiteY4" fmla="*/ 35788 h 7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6" h="71576">
                    <a:moveTo>
                      <a:pt x="71577" y="35788"/>
                    </a:moveTo>
                    <a:cubicBezTo>
                      <a:pt x="71577" y="55566"/>
                      <a:pt x="55566" y="71577"/>
                      <a:pt x="35789" y="71577"/>
                    </a:cubicBezTo>
                    <a:cubicBezTo>
                      <a:pt x="16011" y="71577"/>
                      <a:pt x="0" y="55566"/>
                      <a:pt x="0" y="35788"/>
                    </a:cubicBezTo>
                    <a:cubicBezTo>
                      <a:pt x="0" y="16011"/>
                      <a:pt x="16011" y="0"/>
                      <a:pt x="35789" y="0"/>
                    </a:cubicBezTo>
                    <a:cubicBezTo>
                      <a:pt x="55566" y="0"/>
                      <a:pt x="71577" y="16011"/>
                      <a:pt x="71577" y="3578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BC34CBFA-F252-A5D2-40A2-44BB585C580F}"/>
                  </a:ext>
                </a:extLst>
              </p:cNvPr>
              <p:cNvSpPr/>
              <p:nvPr userDrawn="1"/>
            </p:nvSpPr>
            <p:spPr>
              <a:xfrm rot="10800000">
                <a:off x="7083504" y="3338057"/>
                <a:ext cx="86807" cy="86807"/>
              </a:xfrm>
              <a:custGeom>
                <a:avLst/>
                <a:gdLst>
                  <a:gd name="connsiteX0" fmla="*/ 103598 w 103598"/>
                  <a:gd name="connsiteY0" fmla="*/ 51799 h 103598"/>
                  <a:gd name="connsiteX1" fmla="*/ 51799 w 103598"/>
                  <a:gd name="connsiteY1" fmla="*/ 103598 h 103598"/>
                  <a:gd name="connsiteX2" fmla="*/ 0 w 103598"/>
                  <a:gd name="connsiteY2" fmla="*/ 51799 h 103598"/>
                  <a:gd name="connsiteX3" fmla="*/ 51799 w 103598"/>
                  <a:gd name="connsiteY3" fmla="*/ 0 h 103598"/>
                  <a:gd name="connsiteX4" fmla="*/ 103598 w 103598"/>
                  <a:gd name="connsiteY4" fmla="*/ 51799 h 10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598" h="103598">
                    <a:moveTo>
                      <a:pt x="103598" y="51799"/>
                    </a:moveTo>
                    <a:cubicBezTo>
                      <a:pt x="103598" y="80367"/>
                      <a:pt x="80367" y="103598"/>
                      <a:pt x="51799" y="103598"/>
                    </a:cubicBezTo>
                    <a:cubicBezTo>
                      <a:pt x="23231" y="103598"/>
                      <a:pt x="0" y="80367"/>
                      <a:pt x="0" y="51799"/>
                    </a:cubicBezTo>
                    <a:cubicBezTo>
                      <a:pt x="0" y="23231"/>
                      <a:pt x="23231" y="0"/>
                      <a:pt x="51799" y="0"/>
                    </a:cubicBezTo>
                    <a:cubicBezTo>
                      <a:pt x="80367" y="0"/>
                      <a:pt x="103598" y="23231"/>
                      <a:pt x="103598" y="5179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300763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D5330D33-25F1-0621-9D82-2E11CF961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15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D5330D33-25F1-0621-9D82-2E11CF961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725EB9F-66CE-9863-DDE8-E27183BB5B1E}"/>
              </a:ext>
            </a:extLst>
          </p:cNvPr>
          <p:cNvSpPr/>
          <p:nvPr/>
        </p:nvSpPr>
        <p:spPr>
          <a:xfrm>
            <a:off x="1" y="2315833"/>
            <a:ext cx="2226336" cy="2226336"/>
          </a:xfrm>
          <a:custGeom>
            <a:avLst/>
            <a:gdLst>
              <a:gd name="connsiteX0" fmla="*/ 1608779 w 3217559"/>
              <a:gd name="connsiteY0" fmla="*/ 3217559 h 3217559"/>
              <a:gd name="connsiteX1" fmla="*/ 1 w 3217559"/>
              <a:gd name="connsiteY1" fmla="*/ 3217559 h 3217559"/>
              <a:gd name="connsiteX2" fmla="*/ 1 w 3217559"/>
              <a:gd name="connsiteY2" fmla="*/ 1608798 h 3217559"/>
              <a:gd name="connsiteX3" fmla="*/ 0 w 3217559"/>
              <a:gd name="connsiteY3" fmla="*/ 1608779 h 3217559"/>
              <a:gd name="connsiteX4" fmla="*/ 1 w 3217559"/>
              <a:gd name="connsiteY4" fmla="*/ 1608779 h 3217559"/>
              <a:gd name="connsiteX5" fmla="*/ 1608780 w 3217559"/>
              <a:gd name="connsiteY5" fmla="*/ 0 h 3217559"/>
              <a:gd name="connsiteX6" fmla="*/ 3217558 w 3217559"/>
              <a:gd name="connsiteY6" fmla="*/ 0 h 3217559"/>
              <a:gd name="connsiteX7" fmla="*/ 3217558 w 3217559"/>
              <a:gd name="connsiteY7" fmla="*/ 1608760 h 3217559"/>
              <a:gd name="connsiteX8" fmla="*/ 3217559 w 3217559"/>
              <a:gd name="connsiteY8" fmla="*/ 1608780 h 3217559"/>
              <a:gd name="connsiteX9" fmla="*/ 3217558 w 3217559"/>
              <a:gd name="connsiteY9" fmla="*/ 1608780 h 3217559"/>
              <a:gd name="connsiteX10" fmla="*/ 1608779 w 3217559"/>
              <a:gd name="connsiteY10" fmla="*/ 3217559 h 321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9">
                <a:moveTo>
                  <a:pt x="1608779" y="3217559"/>
                </a:moveTo>
                <a:lnTo>
                  <a:pt x="1" y="3217559"/>
                </a:lnTo>
                <a:lnTo>
                  <a:pt x="1" y="1608798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60"/>
                </a:lnTo>
                <a:lnTo>
                  <a:pt x="3217559" y="1608780"/>
                </a:lnTo>
                <a:lnTo>
                  <a:pt x="3217558" y="1608780"/>
                </a:lnTo>
                <a:cubicBezTo>
                  <a:pt x="3217558" y="2497284"/>
                  <a:pt x="2497283" y="3217559"/>
                  <a:pt x="1608779" y="321755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959B485-73AB-CB74-27D3-F0D28A9FEFDE}"/>
              </a:ext>
            </a:extLst>
          </p:cNvPr>
          <p:cNvSpPr/>
          <p:nvPr/>
        </p:nvSpPr>
        <p:spPr>
          <a:xfrm rot="10800000">
            <a:off x="9965663" y="4631665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249B4-7789-44E0-AFE4-476C83B11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54806" y="2773354"/>
            <a:ext cx="6982680" cy="1429658"/>
          </a:xfrm>
        </p:spPr>
        <p:txBody>
          <a:bodyPr vert="horz" anchor="ctr"/>
          <a:lstStyle>
            <a:lvl1pPr>
              <a:defRPr sz="4000"/>
            </a:lvl1pPr>
          </a:lstStyle>
          <a:p>
            <a:r>
              <a:rPr lang="en-US"/>
              <a:t>Divider Title</a:t>
            </a:r>
            <a:endParaRPr lang="en-GB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011FFD4-C986-99CF-C243-C6DA38E6E838}"/>
              </a:ext>
            </a:extLst>
          </p:cNvPr>
          <p:cNvGrpSpPr/>
          <p:nvPr/>
        </p:nvGrpSpPr>
        <p:grpSpPr>
          <a:xfrm flipH="1">
            <a:off x="7804227" y="2232760"/>
            <a:ext cx="4413473" cy="2341442"/>
            <a:chOff x="7619719" y="2245130"/>
            <a:chExt cx="4414211" cy="2341442"/>
          </a:xfrm>
          <a:noFill/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BEB560-3783-7D00-5490-5E5FD16C1E32}"/>
                </a:ext>
              </a:extLst>
            </p:cNvPr>
            <p:cNvGrpSpPr/>
            <p:nvPr userDrawn="1"/>
          </p:nvGrpSpPr>
          <p:grpSpPr>
            <a:xfrm>
              <a:off x="7642044" y="2322588"/>
              <a:ext cx="4236971" cy="2263984"/>
              <a:chOff x="7642044" y="2322588"/>
              <a:chExt cx="4236971" cy="2263984"/>
            </a:xfrm>
            <a:grpFill/>
          </p:grpSpPr>
          <p:sp>
            <p:nvSpPr>
              <p:cNvPr id="77" name="Arc 76">
                <a:extLst>
                  <a:ext uri="{FF2B5EF4-FFF2-40B4-BE49-F238E27FC236}">
                    <a16:creationId xmlns:a16="http://schemas.microsoft.com/office/drawing/2014/main" id="{87B2DEF1-844B-F2A1-9F2D-AC79ADBEDC22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DB8D83BE-1523-80CD-F759-8E24B8A16EC2}"/>
                  </a:ext>
                </a:extLst>
              </p:cNvPr>
              <p:cNvCxnSpPr>
                <a:cxnSpLocks/>
                <a:stCxn id="71" idx="2"/>
              </p:cNvCxnSpPr>
              <p:nvPr userDrawn="1"/>
            </p:nvCxnSpPr>
            <p:spPr>
              <a:xfrm flipH="1">
                <a:off x="8757578" y="2322588"/>
                <a:ext cx="3121437" cy="0"/>
              </a:xfrm>
              <a:prstGeom prst="line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380C39D3-6CAC-4B72-C7A5-ADF49944F6BE}"/>
                </a:ext>
              </a:extLst>
            </p:cNvPr>
            <p:cNvSpPr/>
            <p:nvPr userDrawn="1"/>
          </p:nvSpPr>
          <p:spPr>
            <a:xfrm>
              <a:off x="11879015" y="2245130"/>
              <a:ext cx="154915" cy="154915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955745CD-694B-70F1-4727-01AB7466907B}"/>
                </a:ext>
              </a:extLst>
            </p:cNvPr>
            <p:cNvGrpSpPr/>
            <p:nvPr userDrawn="1"/>
          </p:nvGrpSpPr>
          <p:grpSpPr>
            <a:xfrm rot="10800000">
              <a:off x="7619719" y="2292361"/>
              <a:ext cx="2266671" cy="2263984"/>
              <a:chOff x="7638060" y="2322588"/>
              <a:chExt cx="2266671" cy="2263984"/>
            </a:xfrm>
            <a:grpFill/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0DB387F6-6F15-FDB3-9CED-CF103AABE1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 flipH="1">
                <a:off x="7638060" y="3432378"/>
                <a:ext cx="0" cy="937728"/>
              </a:xfrm>
              <a:prstGeom prst="line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Arc 73">
                <a:extLst>
                  <a:ext uri="{FF2B5EF4-FFF2-40B4-BE49-F238E27FC236}">
                    <a16:creationId xmlns:a16="http://schemas.microsoft.com/office/drawing/2014/main" id="{9982860C-6C16-8B07-E825-7831A85C904B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063D042C-FB49-9E52-41A6-D91D7BD0CC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8757579" y="2322588"/>
                <a:ext cx="1147152" cy="0"/>
              </a:xfrm>
              <a:prstGeom prst="line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AE3FCA36-1824-6553-BA48-7497574556AB}"/>
              </a:ext>
            </a:extLst>
          </p:cNvPr>
          <p:cNvSpPr/>
          <p:nvPr userDrawn="1"/>
        </p:nvSpPr>
        <p:spPr>
          <a:xfrm rot="10800000">
            <a:off x="9965664" y="0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4F2F645E-5F05-EA21-624B-02466CCFF20A}"/>
              </a:ext>
            </a:extLst>
          </p:cNvPr>
          <p:cNvSpPr/>
          <p:nvPr userDrawn="1"/>
        </p:nvSpPr>
        <p:spPr>
          <a:xfrm rot="5400000">
            <a:off x="7646777" y="0"/>
            <a:ext cx="2226335" cy="2226336"/>
          </a:xfrm>
          <a:custGeom>
            <a:avLst/>
            <a:gdLst>
              <a:gd name="connsiteX0" fmla="*/ 0 w 3217558"/>
              <a:gd name="connsiteY0" fmla="*/ 3217558 h 3217559"/>
              <a:gd name="connsiteX1" fmla="*/ 0 w 3217558"/>
              <a:gd name="connsiteY1" fmla="*/ 1608780 h 3217559"/>
              <a:gd name="connsiteX2" fmla="*/ 0 w 3217558"/>
              <a:gd name="connsiteY2" fmla="*/ 1608779 h 3217559"/>
              <a:gd name="connsiteX3" fmla="*/ 1444291 w 3217558"/>
              <a:gd name="connsiteY3" fmla="*/ 8307 h 3217559"/>
              <a:gd name="connsiteX4" fmla="*/ 1608779 w 3217558"/>
              <a:gd name="connsiteY4" fmla="*/ 0 h 3217559"/>
              <a:gd name="connsiteX5" fmla="*/ 3217558 w 3217558"/>
              <a:gd name="connsiteY5" fmla="*/ 0 h 3217559"/>
              <a:gd name="connsiteX6" fmla="*/ 3217558 w 3217558"/>
              <a:gd name="connsiteY6" fmla="*/ 1608779 h 3217559"/>
              <a:gd name="connsiteX7" fmla="*/ 3217558 w 3217558"/>
              <a:gd name="connsiteY7" fmla="*/ 1608780 h 3217559"/>
              <a:gd name="connsiteX8" fmla="*/ 1608779 w 3217558"/>
              <a:gd name="connsiteY8" fmla="*/ 3217559 h 3217559"/>
              <a:gd name="connsiteX9" fmla="*/ 1608759 w 3217558"/>
              <a:gd name="connsiteY9" fmla="*/ 3217558 h 321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17558" h="3217559">
                <a:moveTo>
                  <a:pt x="0" y="3217558"/>
                </a:moveTo>
                <a:lnTo>
                  <a:pt x="0" y="1608780"/>
                </a:lnTo>
                <a:lnTo>
                  <a:pt x="0" y="1608779"/>
                </a:lnTo>
                <a:cubicBezTo>
                  <a:pt x="0" y="775807"/>
                  <a:pt x="633054" y="90692"/>
                  <a:pt x="1444291" y="8307"/>
                </a:cubicBezTo>
                <a:cubicBezTo>
                  <a:pt x="1498373" y="2815"/>
                  <a:pt x="1553248" y="0"/>
                  <a:pt x="1608779" y="0"/>
                </a:cubicBezTo>
                <a:lnTo>
                  <a:pt x="3217558" y="0"/>
                </a:lnTo>
                <a:lnTo>
                  <a:pt x="3217558" y="1608779"/>
                </a:lnTo>
                <a:lnTo>
                  <a:pt x="3217558" y="1608780"/>
                </a:lnTo>
                <a:cubicBezTo>
                  <a:pt x="3217558" y="2497284"/>
                  <a:pt x="2497283" y="3217559"/>
                  <a:pt x="1608779" y="3217559"/>
                </a:cubicBezTo>
                <a:lnTo>
                  <a:pt x="1608759" y="3217558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DBF4DF32-1692-202B-C7F1-AA7872520537}"/>
              </a:ext>
            </a:extLst>
          </p:cNvPr>
          <p:cNvSpPr/>
          <p:nvPr userDrawn="1"/>
        </p:nvSpPr>
        <p:spPr>
          <a:xfrm flipH="1">
            <a:off x="9888218" y="2386119"/>
            <a:ext cx="154889" cy="154915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FB6E3C0E-218D-CD64-821E-56D6007E0635}"/>
              </a:ext>
            </a:extLst>
          </p:cNvPr>
          <p:cNvGrpSpPr/>
          <p:nvPr userDrawn="1"/>
        </p:nvGrpSpPr>
        <p:grpSpPr>
          <a:xfrm>
            <a:off x="3877833" y="-35176"/>
            <a:ext cx="8314167" cy="6912226"/>
            <a:chOff x="3877833" y="-35176"/>
            <a:chExt cx="8314167" cy="6912226"/>
          </a:xfrm>
        </p:grpSpPr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86F23026-9D1F-C24B-4BCB-3B43F563D48A}"/>
                </a:ext>
              </a:extLst>
            </p:cNvPr>
            <p:cNvSpPr/>
            <p:nvPr userDrawn="1"/>
          </p:nvSpPr>
          <p:spPr>
            <a:xfrm rot="10800000">
              <a:off x="5201830" y="1049111"/>
              <a:ext cx="6990170" cy="2341244"/>
            </a:xfrm>
            <a:custGeom>
              <a:avLst/>
              <a:gdLst>
                <a:gd name="connsiteX0" fmla="*/ 4770936 w 4770935"/>
                <a:gd name="connsiteY0" fmla="*/ 1597947 h 1597947"/>
                <a:gd name="connsiteX1" fmla="*/ 3128550 w 4770935"/>
                <a:gd name="connsiteY1" fmla="*/ 1597947 h 1597947"/>
                <a:gd name="connsiteX2" fmla="*/ 2920331 w 4770935"/>
                <a:gd name="connsiteY2" fmla="*/ 1511361 h 1597947"/>
                <a:gd name="connsiteX3" fmla="*/ 2835120 w 4770935"/>
                <a:gd name="connsiteY3" fmla="*/ 1302455 h 1597947"/>
                <a:gd name="connsiteX4" fmla="*/ 2842450 w 4770935"/>
                <a:gd name="connsiteY4" fmla="*/ 295492 h 1597947"/>
                <a:gd name="connsiteX5" fmla="*/ 2758841 w 4770935"/>
                <a:gd name="connsiteY5" fmla="*/ 90709 h 1597947"/>
                <a:gd name="connsiteX6" fmla="*/ 2554746 w 4770935"/>
                <a:gd name="connsiteY6" fmla="*/ 5727 h 1597947"/>
                <a:gd name="connsiteX7" fmla="*/ 950843 w 4770935"/>
                <a:gd name="connsiteY7" fmla="*/ 5727 h 1597947"/>
                <a:gd name="connsiteX8" fmla="*/ 663368 w 4770935"/>
                <a:gd name="connsiteY8" fmla="*/ 291369 h 1597947"/>
                <a:gd name="connsiteX9" fmla="*/ 661536 w 4770935"/>
                <a:gd name="connsiteY9" fmla="*/ 516997 h 1597947"/>
                <a:gd name="connsiteX10" fmla="*/ 1324904 w 4770935"/>
                <a:gd name="connsiteY10" fmla="*/ 516997 h 1597947"/>
                <a:gd name="connsiteX11" fmla="*/ 1618334 w 4770935"/>
                <a:gd name="connsiteY11" fmla="*/ 810656 h 1597947"/>
                <a:gd name="connsiteX12" fmla="*/ 1618334 w 4770935"/>
                <a:gd name="connsiteY12" fmla="*/ 1304517 h 1597947"/>
                <a:gd name="connsiteX13" fmla="*/ 1324904 w 4770935"/>
                <a:gd name="connsiteY13" fmla="*/ 1597947 h 1597947"/>
                <a:gd name="connsiteX14" fmla="*/ 943513 w 4770935"/>
                <a:gd name="connsiteY14" fmla="*/ 1597947 h 1597947"/>
                <a:gd name="connsiteX15" fmla="*/ 735294 w 4770935"/>
                <a:gd name="connsiteY15" fmla="*/ 1511361 h 1597947"/>
                <a:gd name="connsiteX16" fmla="*/ 650082 w 4770935"/>
                <a:gd name="connsiteY16" fmla="*/ 1302455 h 1597947"/>
                <a:gd name="connsiteX17" fmla="*/ 655809 w 4770935"/>
                <a:gd name="connsiteY17" fmla="*/ 522952 h 1597947"/>
                <a:gd name="connsiteX18" fmla="*/ 0 w 4770935"/>
                <a:gd name="connsiteY18" fmla="*/ 522952 h 1597947"/>
                <a:gd name="connsiteX19" fmla="*/ 0 w 4770935"/>
                <a:gd name="connsiteY19" fmla="*/ 516997 h 1597947"/>
                <a:gd name="connsiteX20" fmla="*/ 655809 w 4770935"/>
                <a:gd name="connsiteY20" fmla="*/ 516997 h 1597947"/>
                <a:gd name="connsiteX21" fmla="*/ 657412 w 4770935"/>
                <a:gd name="connsiteY21" fmla="*/ 291140 h 1597947"/>
                <a:gd name="connsiteX22" fmla="*/ 950843 w 4770935"/>
                <a:gd name="connsiteY22" fmla="*/ 0 h 1597947"/>
                <a:gd name="connsiteX23" fmla="*/ 2554746 w 4770935"/>
                <a:gd name="connsiteY23" fmla="*/ 0 h 1597947"/>
                <a:gd name="connsiteX24" fmla="*/ 2762965 w 4770935"/>
                <a:gd name="connsiteY24" fmla="*/ 86586 h 1597947"/>
                <a:gd name="connsiteX25" fmla="*/ 2848176 w 4770935"/>
                <a:gd name="connsiteY25" fmla="*/ 295492 h 1597947"/>
                <a:gd name="connsiteX26" fmla="*/ 2840846 w 4770935"/>
                <a:gd name="connsiteY26" fmla="*/ 1302455 h 1597947"/>
                <a:gd name="connsiteX27" fmla="*/ 2924454 w 4770935"/>
                <a:gd name="connsiteY27" fmla="*/ 1507238 h 1597947"/>
                <a:gd name="connsiteX28" fmla="*/ 3128550 w 4770935"/>
                <a:gd name="connsiteY28" fmla="*/ 1592221 h 1597947"/>
                <a:gd name="connsiteX29" fmla="*/ 4770936 w 4770935"/>
                <a:gd name="connsiteY29" fmla="*/ 1592221 h 1597947"/>
                <a:gd name="connsiteX30" fmla="*/ 661536 w 4770935"/>
                <a:gd name="connsiteY30" fmla="*/ 522723 h 1597947"/>
                <a:gd name="connsiteX31" fmla="*/ 655809 w 4770935"/>
                <a:gd name="connsiteY31" fmla="*/ 1302226 h 1597947"/>
                <a:gd name="connsiteX32" fmla="*/ 739417 w 4770935"/>
                <a:gd name="connsiteY32" fmla="*/ 1507009 h 1597947"/>
                <a:gd name="connsiteX33" fmla="*/ 943513 w 4770935"/>
                <a:gd name="connsiteY33" fmla="*/ 1591992 h 1597947"/>
                <a:gd name="connsiteX34" fmla="*/ 1324904 w 4770935"/>
                <a:gd name="connsiteY34" fmla="*/ 1591992 h 1597947"/>
                <a:gd name="connsiteX35" fmla="*/ 1612607 w 4770935"/>
                <a:gd name="connsiteY35" fmla="*/ 1304517 h 1597947"/>
                <a:gd name="connsiteX36" fmla="*/ 1612607 w 4770935"/>
                <a:gd name="connsiteY36" fmla="*/ 810427 h 1597947"/>
                <a:gd name="connsiteX37" fmla="*/ 1324904 w 4770935"/>
                <a:gd name="connsiteY37" fmla="*/ 522723 h 159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70935" h="1597947">
                  <a:moveTo>
                    <a:pt x="4770936" y="1597947"/>
                  </a:moveTo>
                  <a:lnTo>
                    <a:pt x="3128550" y="1597947"/>
                  </a:lnTo>
                  <a:cubicBezTo>
                    <a:pt x="3049752" y="1597947"/>
                    <a:pt x="2975765" y="1567253"/>
                    <a:pt x="2920331" y="1511361"/>
                  </a:cubicBezTo>
                  <a:cubicBezTo>
                    <a:pt x="2864669" y="1455470"/>
                    <a:pt x="2834432" y="1381253"/>
                    <a:pt x="2835120" y="1302455"/>
                  </a:cubicBezTo>
                  <a:lnTo>
                    <a:pt x="2842450" y="295492"/>
                  </a:lnTo>
                  <a:cubicBezTo>
                    <a:pt x="2842908" y="218298"/>
                    <a:pt x="2813359" y="145455"/>
                    <a:pt x="2758841" y="90709"/>
                  </a:cubicBezTo>
                  <a:cubicBezTo>
                    <a:pt x="2704553" y="35963"/>
                    <a:pt x="2631940" y="5727"/>
                    <a:pt x="2554746" y="5727"/>
                  </a:cubicBezTo>
                  <a:lnTo>
                    <a:pt x="950843" y="5727"/>
                  </a:lnTo>
                  <a:cubicBezTo>
                    <a:pt x="793476" y="5727"/>
                    <a:pt x="664513" y="133773"/>
                    <a:pt x="663368" y="291369"/>
                  </a:cubicBezTo>
                  <a:lnTo>
                    <a:pt x="661536" y="516997"/>
                  </a:lnTo>
                  <a:lnTo>
                    <a:pt x="1324904" y="516997"/>
                  </a:lnTo>
                  <a:cubicBezTo>
                    <a:pt x="1486851" y="516997"/>
                    <a:pt x="1618334" y="648708"/>
                    <a:pt x="1618334" y="810656"/>
                  </a:cubicBezTo>
                  <a:lnTo>
                    <a:pt x="1618334" y="1304517"/>
                  </a:lnTo>
                  <a:cubicBezTo>
                    <a:pt x="1618334" y="1466236"/>
                    <a:pt x="1486851" y="1597947"/>
                    <a:pt x="1324904" y="1597947"/>
                  </a:cubicBezTo>
                  <a:lnTo>
                    <a:pt x="943513" y="1597947"/>
                  </a:lnTo>
                  <a:cubicBezTo>
                    <a:pt x="864715" y="1597947"/>
                    <a:pt x="790727" y="1567253"/>
                    <a:pt x="735294" y="1511361"/>
                  </a:cubicBezTo>
                  <a:cubicBezTo>
                    <a:pt x="679861" y="1455470"/>
                    <a:pt x="649395" y="1381253"/>
                    <a:pt x="650082" y="1302455"/>
                  </a:cubicBezTo>
                  <a:lnTo>
                    <a:pt x="655809" y="522952"/>
                  </a:lnTo>
                  <a:lnTo>
                    <a:pt x="0" y="522952"/>
                  </a:lnTo>
                  <a:lnTo>
                    <a:pt x="0" y="516997"/>
                  </a:lnTo>
                  <a:lnTo>
                    <a:pt x="655809" y="516997"/>
                  </a:lnTo>
                  <a:lnTo>
                    <a:pt x="657412" y="291140"/>
                  </a:lnTo>
                  <a:cubicBezTo>
                    <a:pt x="658558" y="130566"/>
                    <a:pt x="790269" y="0"/>
                    <a:pt x="950843" y="0"/>
                  </a:cubicBezTo>
                  <a:lnTo>
                    <a:pt x="2554746" y="0"/>
                  </a:lnTo>
                  <a:cubicBezTo>
                    <a:pt x="2633544" y="0"/>
                    <a:pt x="2707531" y="30695"/>
                    <a:pt x="2762965" y="86586"/>
                  </a:cubicBezTo>
                  <a:cubicBezTo>
                    <a:pt x="2818627" y="142478"/>
                    <a:pt x="2848863" y="216694"/>
                    <a:pt x="2848176" y="295492"/>
                  </a:cubicBezTo>
                  <a:lnTo>
                    <a:pt x="2840846" y="1302455"/>
                  </a:lnTo>
                  <a:cubicBezTo>
                    <a:pt x="2840388" y="1379650"/>
                    <a:pt x="2869937" y="1452263"/>
                    <a:pt x="2924454" y="1507238"/>
                  </a:cubicBezTo>
                  <a:cubicBezTo>
                    <a:pt x="2978742" y="1561984"/>
                    <a:pt x="3051356" y="1592221"/>
                    <a:pt x="3128550" y="1592221"/>
                  </a:cubicBezTo>
                  <a:lnTo>
                    <a:pt x="4770936" y="1592221"/>
                  </a:lnTo>
                  <a:close/>
                  <a:moveTo>
                    <a:pt x="661536" y="522723"/>
                  </a:moveTo>
                  <a:lnTo>
                    <a:pt x="655809" y="1302226"/>
                  </a:lnTo>
                  <a:cubicBezTo>
                    <a:pt x="655351" y="1379650"/>
                    <a:pt x="684900" y="1452263"/>
                    <a:pt x="739417" y="1507009"/>
                  </a:cubicBezTo>
                  <a:cubicBezTo>
                    <a:pt x="793705" y="1561984"/>
                    <a:pt x="866318" y="1591992"/>
                    <a:pt x="943513" y="1591992"/>
                  </a:cubicBezTo>
                  <a:lnTo>
                    <a:pt x="1324904" y="1591992"/>
                  </a:lnTo>
                  <a:cubicBezTo>
                    <a:pt x="1483645" y="1591992"/>
                    <a:pt x="1612607" y="1463029"/>
                    <a:pt x="1612607" y="1304517"/>
                  </a:cubicBezTo>
                  <a:lnTo>
                    <a:pt x="1612607" y="810427"/>
                  </a:lnTo>
                  <a:cubicBezTo>
                    <a:pt x="1612607" y="651915"/>
                    <a:pt x="1483645" y="522723"/>
                    <a:pt x="1324904" y="522723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B25EACA-58A5-8259-E7D4-D54484E3D57F}"/>
                </a:ext>
              </a:extLst>
            </p:cNvPr>
            <p:cNvSpPr/>
            <p:nvPr userDrawn="1"/>
          </p:nvSpPr>
          <p:spPr>
            <a:xfrm rot="10800000">
              <a:off x="8977824" y="65762"/>
              <a:ext cx="3214176" cy="6151470"/>
            </a:xfrm>
            <a:custGeom>
              <a:avLst/>
              <a:gdLst>
                <a:gd name="connsiteX0" fmla="*/ 2193742 w 2193741"/>
                <a:gd name="connsiteY0" fmla="*/ 4198506 h 4198505"/>
                <a:gd name="connsiteX1" fmla="*/ 2187786 w 2193741"/>
                <a:gd name="connsiteY1" fmla="*/ 4198506 h 4198505"/>
                <a:gd name="connsiteX2" fmla="*/ 2187786 w 2193741"/>
                <a:gd name="connsiteY2" fmla="*/ 1205791 h 4198505"/>
                <a:gd name="connsiteX3" fmla="*/ 1900311 w 2193741"/>
                <a:gd name="connsiteY3" fmla="*/ 918087 h 4198505"/>
                <a:gd name="connsiteX4" fmla="*/ 1080951 w 2193741"/>
                <a:gd name="connsiteY4" fmla="*/ 918087 h 4198505"/>
                <a:gd name="connsiteX5" fmla="*/ 787291 w 2193741"/>
                <a:gd name="connsiteY5" fmla="*/ 624656 h 4198505"/>
                <a:gd name="connsiteX6" fmla="*/ 787291 w 2193741"/>
                <a:gd name="connsiteY6" fmla="*/ 293430 h 4198505"/>
                <a:gd name="connsiteX7" fmla="*/ 499817 w 2193741"/>
                <a:gd name="connsiteY7" fmla="*/ 5727 h 4198505"/>
                <a:gd name="connsiteX8" fmla="*/ 0 w 2193741"/>
                <a:gd name="connsiteY8" fmla="*/ 5727 h 4198505"/>
                <a:gd name="connsiteX9" fmla="*/ 0 w 2193741"/>
                <a:gd name="connsiteY9" fmla="*/ 0 h 4198505"/>
                <a:gd name="connsiteX10" fmla="*/ 499817 w 2193741"/>
                <a:gd name="connsiteY10" fmla="*/ 0 h 4198505"/>
                <a:gd name="connsiteX11" fmla="*/ 793247 w 2193741"/>
                <a:gd name="connsiteY11" fmla="*/ 293430 h 4198505"/>
                <a:gd name="connsiteX12" fmla="*/ 793247 w 2193741"/>
                <a:gd name="connsiteY12" fmla="*/ 624656 h 4198505"/>
                <a:gd name="connsiteX13" fmla="*/ 1080951 w 2193741"/>
                <a:gd name="connsiteY13" fmla="*/ 912360 h 4198505"/>
                <a:gd name="connsiteX14" fmla="*/ 1900311 w 2193741"/>
                <a:gd name="connsiteY14" fmla="*/ 912360 h 4198505"/>
                <a:gd name="connsiteX15" fmla="*/ 2193742 w 2193741"/>
                <a:gd name="connsiteY15" fmla="*/ 1205791 h 4198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3741" h="4198505">
                  <a:moveTo>
                    <a:pt x="2193742" y="4198506"/>
                  </a:moveTo>
                  <a:lnTo>
                    <a:pt x="2187786" y="4198506"/>
                  </a:lnTo>
                  <a:lnTo>
                    <a:pt x="2187786" y="1205791"/>
                  </a:lnTo>
                  <a:cubicBezTo>
                    <a:pt x="2187786" y="1047279"/>
                    <a:pt x="2058823" y="918087"/>
                    <a:pt x="1900311" y="918087"/>
                  </a:cubicBezTo>
                  <a:lnTo>
                    <a:pt x="1080951" y="918087"/>
                  </a:lnTo>
                  <a:cubicBezTo>
                    <a:pt x="919003" y="918087"/>
                    <a:pt x="787291" y="786604"/>
                    <a:pt x="787291" y="624656"/>
                  </a:cubicBezTo>
                  <a:lnTo>
                    <a:pt x="787291" y="293430"/>
                  </a:lnTo>
                  <a:cubicBezTo>
                    <a:pt x="787291" y="134918"/>
                    <a:pt x="658329" y="5727"/>
                    <a:pt x="499817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499817" y="0"/>
                  </a:lnTo>
                  <a:cubicBezTo>
                    <a:pt x="661536" y="0"/>
                    <a:pt x="793247" y="131712"/>
                    <a:pt x="793247" y="293430"/>
                  </a:cubicBezTo>
                  <a:lnTo>
                    <a:pt x="793247" y="624656"/>
                  </a:lnTo>
                  <a:cubicBezTo>
                    <a:pt x="793247" y="783397"/>
                    <a:pt x="922210" y="912360"/>
                    <a:pt x="1080951" y="912360"/>
                  </a:cubicBezTo>
                  <a:lnTo>
                    <a:pt x="1900311" y="912360"/>
                  </a:lnTo>
                  <a:cubicBezTo>
                    <a:pt x="2062030" y="912360"/>
                    <a:pt x="2193742" y="1044072"/>
                    <a:pt x="2193742" y="120579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AB0CFDB-9B99-8901-7118-7B1640A88209}"/>
                </a:ext>
              </a:extLst>
            </p:cNvPr>
            <p:cNvSpPr/>
            <p:nvPr userDrawn="1"/>
          </p:nvSpPr>
          <p:spPr>
            <a:xfrm rot="10800000">
              <a:off x="9139591" y="5527546"/>
              <a:ext cx="3052409" cy="1349504"/>
            </a:xfrm>
            <a:custGeom>
              <a:avLst/>
              <a:gdLst>
                <a:gd name="connsiteX0" fmla="*/ 1789903 w 2083332"/>
                <a:gd name="connsiteY0" fmla="*/ 921065 h 921064"/>
                <a:gd name="connsiteX1" fmla="*/ 0 w 2083332"/>
                <a:gd name="connsiteY1" fmla="*/ 921065 h 921064"/>
                <a:gd name="connsiteX2" fmla="*/ 0 w 2083332"/>
                <a:gd name="connsiteY2" fmla="*/ 915338 h 921064"/>
                <a:gd name="connsiteX3" fmla="*/ 1789903 w 2083332"/>
                <a:gd name="connsiteY3" fmla="*/ 915338 h 921064"/>
                <a:gd name="connsiteX4" fmla="*/ 2077377 w 2083332"/>
                <a:gd name="connsiteY4" fmla="*/ 627634 h 921064"/>
                <a:gd name="connsiteX5" fmla="*/ 2077377 w 2083332"/>
                <a:gd name="connsiteY5" fmla="*/ 0 h 921064"/>
                <a:gd name="connsiteX6" fmla="*/ 2083333 w 2083332"/>
                <a:gd name="connsiteY6" fmla="*/ 0 h 921064"/>
                <a:gd name="connsiteX7" fmla="*/ 2083333 w 2083332"/>
                <a:gd name="connsiteY7" fmla="*/ 627634 h 921064"/>
                <a:gd name="connsiteX8" fmla="*/ 1789903 w 2083332"/>
                <a:gd name="connsiteY8" fmla="*/ 921065 h 92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3332" h="921064">
                  <a:moveTo>
                    <a:pt x="1789903" y="921065"/>
                  </a:moveTo>
                  <a:lnTo>
                    <a:pt x="0" y="921065"/>
                  </a:lnTo>
                  <a:lnTo>
                    <a:pt x="0" y="915338"/>
                  </a:lnTo>
                  <a:lnTo>
                    <a:pt x="1789903" y="915338"/>
                  </a:lnTo>
                  <a:cubicBezTo>
                    <a:pt x="1948415" y="915338"/>
                    <a:pt x="2077377" y="786146"/>
                    <a:pt x="2077377" y="627634"/>
                  </a:cubicBezTo>
                  <a:lnTo>
                    <a:pt x="2077377" y="0"/>
                  </a:lnTo>
                  <a:lnTo>
                    <a:pt x="2083333" y="0"/>
                  </a:lnTo>
                  <a:lnTo>
                    <a:pt x="2083333" y="627634"/>
                  </a:lnTo>
                  <a:cubicBezTo>
                    <a:pt x="2083333" y="789353"/>
                    <a:pt x="1951621" y="921065"/>
                    <a:pt x="1789903" y="92106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9F615A1-94D9-A7CF-7CFC-AD28AD0F8042}"/>
                </a:ext>
              </a:extLst>
            </p:cNvPr>
            <p:cNvSpPr/>
            <p:nvPr userDrawn="1"/>
          </p:nvSpPr>
          <p:spPr>
            <a:xfrm rot="10800000">
              <a:off x="10510574" y="65762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EECC672-2EB6-6A53-C2C8-EC2006A2F8E8}"/>
                </a:ext>
              </a:extLst>
            </p:cNvPr>
            <p:cNvSpPr/>
            <p:nvPr userDrawn="1"/>
          </p:nvSpPr>
          <p:spPr>
            <a:xfrm rot="10800000">
              <a:off x="9829801" y="4115481"/>
              <a:ext cx="2362199" cy="10800"/>
            </a:xfrm>
            <a:custGeom>
              <a:avLst/>
              <a:gdLst>
                <a:gd name="connsiteX0" fmla="*/ 1388812 w 1388812"/>
                <a:gd name="connsiteY0" fmla="*/ 5727 h 5726"/>
                <a:gd name="connsiteX1" fmla="*/ 0 w 1388812"/>
                <a:gd name="connsiteY1" fmla="*/ 5727 h 5726"/>
                <a:gd name="connsiteX2" fmla="*/ 0 w 1388812"/>
                <a:gd name="connsiteY2" fmla="*/ 0 h 5726"/>
                <a:gd name="connsiteX3" fmla="*/ 1388812 w 1388812"/>
                <a:gd name="connsiteY3" fmla="*/ 0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812" h="5726">
                  <a:moveTo>
                    <a:pt x="1388812" y="5727"/>
                  </a:moveTo>
                  <a:lnTo>
                    <a:pt x="0" y="5727"/>
                  </a:lnTo>
                  <a:lnTo>
                    <a:pt x="0" y="0"/>
                  </a:lnTo>
                  <a:lnTo>
                    <a:pt x="138881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64F59E00-F405-F259-EB3B-72988FA9CE5E}"/>
                </a:ext>
              </a:extLst>
            </p:cNvPr>
            <p:cNvSpPr/>
            <p:nvPr userDrawn="1"/>
          </p:nvSpPr>
          <p:spPr>
            <a:xfrm rot="10800000">
              <a:off x="10476342" y="597709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CA2226D5-A177-BBE3-B163-EDBAD9BE7FB8}"/>
                </a:ext>
              </a:extLst>
            </p:cNvPr>
            <p:cNvGrpSpPr/>
            <p:nvPr userDrawn="1"/>
          </p:nvGrpSpPr>
          <p:grpSpPr>
            <a:xfrm rot="10800000">
              <a:off x="4516507" y="4335446"/>
              <a:ext cx="5542665" cy="2541604"/>
              <a:chOff x="14458144" y="2217630"/>
              <a:chExt cx="3782983" cy="1734697"/>
            </a:xfrm>
            <a:solidFill>
              <a:schemeClr val="accent6">
                <a:lumMod val="60000"/>
                <a:lumOff val="40000"/>
                <a:alpha val="66000"/>
              </a:schemeClr>
            </a:solidFill>
          </p:grpSpPr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D64A478B-E063-53E3-66C4-53CFCFADFD79}"/>
                  </a:ext>
                </a:extLst>
              </p:cNvPr>
              <p:cNvSpPr/>
              <p:nvPr/>
            </p:nvSpPr>
            <p:spPr>
              <a:xfrm>
                <a:off x="14458144" y="2217630"/>
                <a:ext cx="2954919" cy="1693924"/>
              </a:xfrm>
              <a:custGeom>
                <a:avLst/>
                <a:gdLst>
                  <a:gd name="connsiteX0" fmla="*/ 2954920 w 2954919"/>
                  <a:gd name="connsiteY0" fmla="*/ 1693925 h 1693924"/>
                  <a:gd name="connsiteX1" fmla="*/ 1897333 w 2954919"/>
                  <a:gd name="connsiteY1" fmla="*/ 1693925 h 1693924"/>
                  <a:gd name="connsiteX2" fmla="*/ 1603903 w 2954919"/>
                  <a:gd name="connsiteY2" fmla="*/ 1400495 h 1693924"/>
                  <a:gd name="connsiteX3" fmla="*/ 1603903 w 2954919"/>
                  <a:gd name="connsiteY3" fmla="*/ 836769 h 1693924"/>
                  <a:gd name="connsiteX4" fmla="*/ 1316199 w 2954919"/>
                  <a:gd name="connsiteY4" fmla="*/ 549065 h 1693924"/>
                  <a:gd name="connsiteX5" fmla="*/ 293430 w 2954919"/>
                  <a:gd name="connsiteY5" fmla="*/ 549065 h 1693924"/>
                  <a:gd name="connsiteX6" fmla="*/ 0 w 2954919"/>
                  <a:gd name="connsiteY6" fmla="*/ 255635 h 1693924"/>
                  <a:gd name="connsiteX7" fmla="*/ 0 w 2954919"/>
                  <a:gd name="connsiteY7" fmla="*/ 0 h 1693924"/>
                  <a:gd name="connsiteX8" fmla="*/ 5727 w 2954919"/>
                  <a:gd name="connsiteY8" fmla="*/ 0 h 1693924"/>
                  <a:gd name="connsiteX9" fmla="*/ 5727 w 2954919"/>
                  <a:gd name="connsiteY9" fmla="*/ 255635 h 1693924"/>
                  <a:gd name="connsiteX10" fmla="*/ 293430 w 2954919"/>
                  <a:gd name="connsiteY10" fmla="*/ 543339 h 1693924"/>
                  <a:gd name="connsiteX11" fmla="*/ 1316199 w 2954919"/>
                  <a:gd name="connsiteY11" fmla="*/ 543339 h 1693924"/>
                  <a:gd name="connsiteX12" fmla="*/ 1609630 w 2954919"/>
                  <a:gd name="connsiteY12" fmla="*/ 836769 h 1693924"/>
                  <a:gd name="connsiteX13" fmla="*/ 1609630 w 2954919"/>
                  <a:gd name="connsiteY13" fmla="*/ 1400495 h 1693924"/>
                  <a:gd name="connsiteX14" fmla="*/ 1897333 w 2954919"/>
                  <a:gd name="connsiteY14" fmla="*/ 1688198 h 1693924"/>
                  <a:gd name="connsiteX15" fmla="*/ 2954920 w 2954919"/>
                  <a:gd name="connsiteY15" fmla="*/ 1688198 h 169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54919" h="1693924">
                    <a:moveTo>
                      <a:pt x="2954920" y="1693925"/>
                    </a:moveTo>
                    <a:lnTo>
                      <a:pt x="1897333" y="1693925"/>
                    </a:lnTo>
                    <a:cubicBezTo>
                      <a:pt x="1735615" y="1693925"/>
                      <a:pt x="1603903" y="1562214"/>
                      <a:pt x="1603903" y="1400495"/>
                    </a:cubicBezTo>
                    <a:lnTo>
                      <a:pt x="1603903" y="836769"/>
                    </a:lnTo>
                    <a:cubicBezTo>
                      <a:pt x="1603903" y="678257"/>
                      <a:pt x="1474711" y="549065"/>
                      <a:pt x="1316199" y="549065"/>
                    </a:cubicBezTo>
                    <a:lnTo>
                      <a:pt x="293430" y="549065"/>
                    </a:lnTo>
                    <a:cubicBezTo>
                      <a:pt x="131712" y="549065"/>
                      <a:pt x="0" y="417583"/>
                      <a:pt x="0" y="255635"/>
                    </a:cubicBezTo>
                    <a:lnTo>
                      <a:pt x="0" y="0"/>
                    </a:lnTo>
                    <a:lnTo>
                      <a:pt x="5727" y="0"/>
                    </a:lnTo>
                    <a:lnTo>
                      <a:pt x="5727" y="255635"/>
                    </a:lnTo>
                    <a:cubicBezTo>
                      <a:pt x="5727" y="414376"/>
                      <a:pt x="134918" y="543339"/>
                      <a:pt x="293430" y="543339"/>
                    </a:cubicBezTo>
                    <a:lnTo>
                      <a:pt x="1316199" y="543339"/>
                    </a:lnTo>
                    <a:cubicBezTo>
                      <a:pt x="1477918" y="543339"/>
                      <a:pt x="1609630" y="675050"/>
                      <a:pt x="1609630" y="836769"/>
                    </a:cubicBezTo>
                    <a:lnTo>
                      <a:pt x="1609630" y="1400495"/>
                    </a:lnTo>
                    <a:cubicBezTo>
                      <a:pt x="1609630" y="1559007"/>
                      <a:pt x="1738821" y="1688198"/>
                      <a:pt x="1897333" y="1688198"/>
                    </a:cubicBezTo>
                    <a:lnTo>
                      <a:pt x="2954920" y="16881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CA02F5F2-59ED-DCCD-F3C7-49346D3DB69D}"/>
                  </a:ext>
                </a:extLst>
              </p:cNvPr>
              <p:cNvSpPr/>
              <p:nvPr/>
            </p:nvSpPr>
            <p:spPr>
              <a:xfrm>
                <a:off x="15643548" y="2217630"/>
                <a:ext cx="2559785" cy="1095381"/>
              </a:xfrm>
              <a:custGeom>
                <a:avLst/>
                <a:gdLst>
                  <a:gd name="connsiteX0" fmla="*/ 2559785 w 2559785"/>
                  <a:gd name="connsiteY0" fmla="*/ 1095382 h 1095381"/>
                  <a:gd name="connsiteX1" fmla="*/ 293431 w 2559785"/>
                  <a:gd name="connsiteY1" fmla="*/ 1095382 h 1095381"/>
                  <a:gd name="connsiteX2" fmla="*/ 0 w 2559785"/>
                  <a:gd name="connsiteY2" fmla="*/ 801951 h 1095381"/>
                  <a:gd name="connsiteX3" fmla="*/ 0 w 2559785"/>
                  <a:gd name="connsiteY3" fmla="*/ 0 h 1095381"/>
                  <a:gd name="connsiteX4" fmla="*/ 5956 w 2559785"/>
                  <a:gd name="connsiteY4" fmla="*/ 0 h 1095381"/>
                  <a:gd name="connsiteX5" fmla="*/ 5956 w 2559785"/>
                  <a:gd name="connsiteY5" fmla="*/ 801951 h 1095381"/>
                  <a:gd name="connsiteX6" fmla="*/ 293431 w 2559785"/>
                  <a:gd name="connsiteY6" fmla="*/ 1089655 h 1095381"/>
                  <a:gd name="connsiteX7" fmla="*/ 2559785 w 2559785"/>
                  <a:gd name="connsiteY7" fmla="*/ 1089655 h 109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9785" h="1095381">
                    <a:moveTo>
                      <a:pt x="2559785" y="1095382"/>
                    </a:moveTo>
                    <a:lnTo>
                      <a:pt x="293431" y="1095382"/>
                    </a:lnTo>
                    <a:cubicBezTo>
                      <a:pt x="131712" y="1095382"/>
                      <a:pt x="0" y="963670"/>
                      <a:pt x="0" y="801951"/>
                    </a:cubicBezTo>
                    <a:lnTo>
                      <a:pt x="0" y="0"/>
                    </a:lnTo>
                    <a:lnTo>
                      <a:pt x="5956" y="0"/>
                    </a:lnTo>
                    <a:lnTo>
                      <a:pt x="5956" y="801951"/>
                    </a:lnTo>
                    <a:cubicBezTo>
                      <a:pt x="5956" y="960464"/>
                      <a:pt x="134918" y="1089655"/>
                      <a:pt x="293431" y="1089655"/>
                    </a:cubicBezTo>
                    <a:lnTo>
                      <a:pt x="2559785" y="1089655"/>
                    </a:ln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2E7305EC-CF6D-BBF1-D63A-543A49A261BD}"/>
                  </a:ext>
                </a:extLst>
              </p:cNvPr>
              <p:cNvSpPr/>
              <p:nvPr/>
            </p:nvSpPr>
            <p:spPr>
              <a:xfrm>
                <a:off x="17375268" y="3876737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979D2560-2288-E9A2-4652-B05044F7DA25}"/>
                  </a:ext>
                </a:extLst>
              </p:cNvPr>
              <p:cNvSpPr/>
              <p:nvPr/>
            </p:nvSpPr>
            <p:spPr>
              <a:xfrm>
                <a:off x="18165537" y="3272239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678CB9F-9B66-075B-BA88-C3B1328C4887}"/>
                </a:ext>
              </a:extLst>
            </p:cNvPr>
            <p:cNvSpPr/>
            <p:nvPr userDrawn="1"/>
          </p:nvSpPr>
          <p:spPr>
            <a:xfrm rot="10800000">
              <a:off x="5146454" y="998099"/>
              <a:ext cx="110751" cy="110416"/>
            </a:xfrm>
            <a:custGeom>
              <a:avLst/>
              <a:gdLst>
                <a:gd name="connsiteX0" fmla="*/ 75591 w 75590"/>
                <a:gd name="connsiteY0" fmla="*/ 37566 h 75361"/>
                <a:gd name="connsiteX1" fmla="*/ 37795 w 75590"/>
                <a:gd name="connsiteY1" fmla="*/ 75362 h 75361"/>
                <a:gd name="connsiteX2" fmla="*/ 0 w 75590"/>
                <a:gd name="connsiteY2" fmla="*/ 37566 h 75361"/>
                <a:gd name="connsiteX3" fmla="*/ 37795 w 75590"/>
                <a:gd name="connsiteY3" fmla="*/ 0 h 75361"/>
                <a:gd name="connsiteX4" fmla="*/ 75591 w 75590"/>
                <a:gd name="connsiteY4" fmla="*/ 37566 h 7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361">
                  <a:moveTo>
                    <a:pt x="75591" y="37566"/>
                  </a:moveTo>
                  <a:cubicBezTo>
                    <a:pt x="75591" y="58640"/>
                    <a:pt x="58640" y="75362"/>
                    <a:pt x="37795" y="75362"/>
                  </a:cubicBezTo>
                  <a:cubicBezTo>
                    <a:pt x="16950" y="75362"/>
                    <a:pt x="0" y="58640"/>
                    <a:pt x="0" y="37566"/>
                  </a:cubicBezTo>
                  <a:cubicBezTo>
                    <a:pt x="0" y="16722"/>
                    <a:pt x="16950" y="0"/>
                    <a:pt x="37795" y="0"/>
                  </a:cubicBezTo>
                  <a:cubicBezTo>
                    <a:pt x="58640" y="0"/>
                    <a:pt x="75591" y="16722"/>
                    <a:pt x="75591" y="37566"/>
                  </a:cubicBezTo>
                  <a:close/>
                </a:path>
              </a:pathLst>
            </a:custGeom>
            <a:solidFill>
              <a:schemeClr val="accent2"/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8526A5A-4A6A-E0B6-D2A5-7BD7FC39A690}"/>
                </a:ext>
              </a:extLst>
            </p:cNvPr>
            <p:cNvGrpSpPr/>
            <p:nvPr userDrawn="1"/>
          </p:nvGrpSpPr>
          <p:grpSpPr>
            <a:xfrm>
              <a:off x="3877833" y="-35176"/>
              <a:ext cx="2869164" cy="2277476"/>
              <a:chOff x="3877833" y="65762"/>
              <a:chExt cx="2869164" cy="2277476"/>
            </a:xfrm>
          </p:grpSpPr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406F695-F7BB-8438-3C30-08D1F9901EB2}"/>
                  </a:ext>
                </a:extLst>
              </p:cNvPr>
              <p:cNvSpPr/>
              <p:nvPr/>
            </p:nvSpPr>
            <p:spPr>
              <a:xfrm rot="10800000">
                <a:off x="3933209" y="65762"/>
                <a:ext cx="2813788" cy="2226463"/>
              </a:xfrm>
              <a:custGeom>
                <a:avLst/>
                <a:gdLst>
                  <a:gd name="connsiteX0" fmla="*/ 5727 w 1920468"/>
                  <a:gd name="connsiteY0" fmla="*/ 1519607 h 1519607"/>
                  <a:gd name="connsiteX1" fmla="*/ 0 w 1920468"/>
                  <a:gd name="connsiteY1" fmla="*/ 1519607 h 1519607"/>
                  <a:gd name="connsiteX2" fmla="*/ 0 w 1920468"/>
                  <a:gd name="connsiteY2" fmla="*/ 293430 h 1519607"/>
                  <a:gd name="connsiteX3" fmla="*/ 293430 w 1920468"/>
                  <a:gd name="connsiteY3" fmla="*/ 0 h 1519607"/>
                  <a:gd name="connsiteX4" fmla="*/ 1920469 w 1920468"/>
                  <a:gd name="connsiteY4" fmla="*/ 0 h 1519607"/>
                  <a:gd name="connsiteX5" fmla="*/ 1920469 w 1920468"/>
                  <a:gd name="connsiteY5" fmla="*/ 5956 h 1519607"/>
                  <a:gd name="connsiteX6" fmla="*/ 293430 w 1920468"/>
                  <a:gd name="connsiteY6" fmla="*/ 5956 h 1519607"/>
                  <a:gd name="connsiteX7" fmla="*/ 5727 w 1920468"/>
                  <a:gd name="connsiteY7" fmla="*/ 293430 h 15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468" h="1519607">
                    <a:moveTo>
                      <a:pt x="5727" y="1519607"/>
                    </a:moveTo>
                    <a:lnTo>
                      <a:pt x="0" y="1519607"/>
                    </a:lnTo>
                    <a:lnTo>
                      <a:pt x="0" y="293430"/>
                    </a:lnTo>
                    <a:cubicBezTo>
                      <a:pt x="0" y="131712"/>
                      <a:pt x="131483" y="0"/>
                      <a:pt x="293430" y="0"/>
                    </a:cubicBezTo>
                    <a:lnTo>
                      <a:pt x="1920469" y="0"/>
                    </a:lnTo>
                    <a:lnTo>
                      <a:pt x="1920469" y="5956"/>
                    </a:lnTo>
                    <a:lnTo>
                      <a:pt x="293430" y="5956"/>
                    </a:lnTo>
                    <a:cubicBezTo>
                      <a:pt x="134689" y="5956"/>
                      <a:pt x="5727" y="134918"/>
                      <a:pt x="5727" y="29343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0789FA2-2AE7-7C9F-9E92-B748420057D7}"/>
                  </a:ext>
                </a:extLst>
              </p:cNvPr>
              <p:cNvSpPr/>
              <p:nvPr/>
            </p:nvSpPr>
            <p:spPr>
              <a:xfrm rot="10800000">
                <a:off x="3877833" y="2232487"/>
                <a:ext cx="110751" cy="110751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0" y="75591"/>
                      <a:pt x="0" y="58640"/>
                      <a:pt x="0" y="37795"/>
                    </a:cubicBezTo>
                    <a:cubicBezTo>
                      <a:pt x="0" y="16951"/>
                      <a:pt x="16950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1004EE6-88AE-03DE-A35D-29855AF0AE1F}"/>
                </a:ext>
              </a:extLst>
            </p:cNvPr>
            <p:cNvSpPr/>
            <p:nvPr userDrawn="1"/>
          </p:nvSpPr>
          <p:spPr>
            <a:xfrm rot="10800000">
              <a:off x="9792894" y="4071653"/>
              <a:ext cx="110751" cy="110751"/>
            </a:xfrm>
            <a:custGeom>
              <a:avLst/>
              <a:gdLst>
                <a:gd name="connsiteX0" fmla="*/ 75591 w 75590"/>
                <a:gd name="connsiteY0" fmla="*/ 37795 h 75590"/>
                <a:gd name="connsiteX1" fmla="*/ 37795 w 75590"/>
                <a:gd name="connsiteY1" fmla="*/ 75591 h 75590"/>
                <a:gd name="connsiteX2" fmla="*/ 0 w 75590"/>
                <a:gd name="connsiteY2" fmla="*/ 37795 h 75590"/>
                <a:gd name="connsiteX3" fmla="*/ 37795 w 75590"/>
                <a:gd name="connsiteY3" fmla="*/ 0 h 75590"/>
                <a:gd name="connsiteX4" fmla="*/ 75591 w 75590"/>
                <a:gd name="connsiteY4" fmla="*/ 37795 h 7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590">
                  <a:moveTo>
                    <a:pt x="75591" y="37795"/>
                  </a:moveTo>
                  <a:cubicBezTo>
                    <a:pt x="75591" y="58640"/>
                    <a:pt x="58640" y="75591"/>
                    <a:pt x="37795" y="75591"/>
                  </a:cubicBezTo>
                  <a:cubicBezTo>
                    <a:pt x="16951" y="75591"/>
                    <a:pt x="0" y="58640"/>
                    <a:pt x="0" y="37795"/>
                  </a:cubicBezTo>
                  <a:cubicBezTo>
                    <a:pt x="0" y="16951"/>
                    <a:pt x="16951" y="0"/>
                    <a:pt x="37795" y="0"/>
                  </a:cubicBezTo>
                  <a:cubicBezTo>
                    <a:pt x="58640" y="0"/>
                    <a:pt x="75591" y="16951"/>
                    <a:pt x="75591" y="3779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1612409-5D4B-76CE-C22C-5E9A3522E818}"/>
              </a:ext>
            </a:extLst>
          </p:cNvPr>
          <p:cNvGrpSpPr/>
          <p:nvPr userDrawn="1"/>
        </p:nvGrpSpPr>
        <p:grpSpPr>
          <a:xfrm>
            <a:off x="10462869" y="65761"/>
            <a:ext cx="1715658" cy="1732439"/>
            <a:chOff x="22566503" y="38955"/>
            <a:chExt cx="1715658" cy="1732439"/>
          </a:xfrm>
          <a:solidFill>
            <a:schemeClr val="bg1"/>
          </a:solidFill>
        </p:grpSpPr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40A65877-C3AC-A9C4-83A7-686E6269F0FE}"/>
                </a:ext>
              </a:extLst>
            </p:cNvPr>
            <p:cNvSpPr/>
            <p:nvPr userDrawn="1"/>
          </p:nvSpPr>
          <p:spPr>
            <a:xfrm rot="10800000">
              <a:off x="22600735" y="38955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BE87F074-B25E-8365-9709-327EA6100C2C}"/>
                </a:ext>
              </a:extLst>
            </p:cNvPr>
            <p:cNvSpPr/>
            <p:nvPr userDrawn="1"/>
          </p:nvSpPr>
          <p:spPr>
            <a:xfrm rot="10800000">
              <a:off x="22566503" y="570902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4" name="Rectangle 5">
            <a:extLst>
              <a:ext uri="{FF2B5EF4-FFF2-40B4-BE49-F238E27FC236}">
                <a16:creationId xmlns:a16="http://schemas.microsoft.com/office/drawing/2014/main" id="{5C71DA24-32C0-174A-31BF-267F2962A2B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145" name="Foliennummernplatzhalter 3">
            <a:extLst>
              <a:ext uri="{FF2B5EF4-FFF2-40B4-BE49-F238E27FC236}">
                <a16:creationId xmlns:a16="http://schemas.microsoft.com/office/drawing/2014/main" id="{C8B58FBA-343C-6EFD-0A52-6E17FEF61D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 dirty="0">
              <a:solidFill>
                <a:srgbClr val="626469"/>
              </a:solidFill>
            </a:endParaRPr>
          </a:p>
        </p:txBody>
      </p:sp>
      <p:pic>
        <p:nvPicPr>
          <p:cNvPr id="147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CE07EA00-2ED1-80F7-0CC3-075183B7889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16" y="4847238"/>
            <a:ext cx="2226336" cy="157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00304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359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6019802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6019802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B39CBE4-07E8-76C7-E580-5263651555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440" y="1502445"/>
            <a:ext cx="5355560" cy="535555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7E2981E-278A-F521-4535-69D9B44B4454}"/>
              </a:ext>
            </a:extLst>
          </p:cNvPr>
          <p:cNvSpPr/>
          <p:nvPr userDrawn="1"/>
        </p:nvSpPr>
        <p:spPr>
          <a:xfrm>
            <a:off x="7229038" y="0"/>
            <a:ext cx="4962958" cy="1287152"/>
          </a:xfrm>
          <a:custGeom>
            <a:avLst/>
            <a:gdLst>
              <a:gd name="connsiteX0" fmla="*/ 0 w 4962958"/>
              <a:gd name="connsiteY0" fmla="*/ 0 h 1287152"/>
              <a:gd name="connsiteX1" fmla="*/ 4962958 w 4962958"/>
              <a:gd name="connsiteY1" fmla="*/ 0 h 1287152"/>
              <a:gd name="connsiteX2" fmla="*/ 4962958 w 4962958"/>
              <a:gd name="connsiteY2" fmla="*/ 1287152 h 1287152"/>
              <a:gd name="connsiteX3" fmla="*/ 2285183 w 4962958"/>
              <a:gd name="connsiteY3" fmla="*/ 1287152 h 1287152"/>
              <a:gd name="connsiteX4" fmla="*/ 64727 w 4962958"/>
              <a:gd name="connsiteY4" fmla="*/ 106545 h 1287152"/>
              <a:gd name="connsiteX5" fmla="*/ 0 w 4962958"/>
              <a:gd name="connsiteY5" fmla="*/ 0 h 1287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2958" h="1287152">
                <a:moveTo>
                  <a:pt x="0" y="0"/>
                </a:moveTo>
                <a:lnTo>
                  <a:pt x="4962958" y="0"/>
                </a:lnTo>
                <a:lnTo>
                  <a:pt x="4962958" y="1287152"/>
                </a:lnTo>
                <a:lnTo>
                  <a:pt x="2285183" y="1287152"/>
                </a:lnTo>
                <a:cubicBezTo>
                  <a:pt x="1360874" y="1287152"/>
                  <a:pt x="545944" y="818839"/>
                  <a:pt x="64727" y="10654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509392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437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6019802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6019802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B39CBE4-07E8-76C7-E580-5263651555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 flipH="1">
            <a:off x="6836444" y="0"/>
            <a:ext cx="5355552" cy="5355555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260E775-1E0C-B41F-4FFD-36249AF81D6B}"/>
              </a:ext>
            </a:extLst>
          </p:cNvPr>
          <p:cNvGrpSpPr/>
          <p:nvPr userDrawn="1"/>
        </p:nvGrpSpPr>
        <p:grpSpPr>
          <a:xfrm>
            <a:off x="6561963" y="-66406"/>
            <a:ext cx="5687966" cy="6415534"/>
            <a:chOff x="7607475" y="2279991"/>
            <a:chExt cx="2285012" cy="2577602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D1C6D67-8900-AA03-C270-0C707FF5AB7B}"/>
                </a:ext>
              </a:extLst>
            </p:cNvPr>
            <p:cNvGrpSpPr/>
            <p:nvPr userDrawn="1"/>
          </p:nvGrpSpPr>
          <p:grpSpPr>
            <a:xfrm>
              <a:off x="7625816" y="2310218"/>
              <a:ext cx="2266671" cy="2547375"/>
              <a:chOff x="7638060" y="2322588"/>
              <a:chExt cx="2266671" cy="2547375"/>
            </a:xfrm>
            <a:noFill/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FEC5045D-DF55-59D0-3C94-9112CA973E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7638060" y="3432378"/>
                <a:ext cx="0" cy="1437585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8A387750-0C86-E553-D204-927375F97F83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3DD9DD2A-E69A-89BA-E681-6E9DE43B22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8757578" y="2322588"/>
                <a:ext cx="1147153" cy="0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EBE704D-F3D5-5212-B4C9-D7BB1F3D1F04}"/>
                </a:ext>
              </a:extLst>
            </p:cNvPr>
            <p:cNvGrpSpPr/>
            <p:nvPr userDrawn="1"/>
          </p:nvGrpSpPr>
          <p:grpSpPr>
            <a:xfrm rot="10800000">
              <a:off x="7607475" y="2279991"/>
              <a:ext cx="2266671" cy="2263984"/>
              <a:chOff x="7638060" y="2322588"/>
              <a:chExt cx="2266671" cy="2263984"/>
            </a:xfrm>
            <a:noFill/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8C1AD411-D36E-63BA-1A19-331C49556C0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7638060" y="3432378"/>
                <a:ext cx="0" cy="1127513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88834E1E-749B-9E26-2F59-41EE3C221942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066A6F21-371A-F594-46B3-EA2006B353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8757579" y="2322588"/>
                <a:ext cx="804189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7E95DF8-5C00-1B4D-3D15-8D24F1976E1D}"/>
              </a:ext>
            </a:extLst>
          </p:cNvPr>
          <p:cNvGrpSpPr/>
          <p:nvPr userDrawn="1"/>
        </p:nvGrpSpPr>
        <p:grpSpPr>
          <a:xfrm>
            <a:off x="6551946" y="5509654"/>
            <a:ext cx="965166" cy="839474"/>
            <a:chOff x="6551946" y="5509654"/>
            <a:chExt cx="965166" cy="83947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FC0F627-C1D9-AFF1-3B6E-063C492F1154}"/>
                </a:ext>
              </a:extLst>
            </p:cNvPr>
            <p:cNvSpPr/>
            <p:nvPr userDrawn="1"/>
          </p:nvSpPr>
          <p:spPr>
            <a:xfrm>
              <a:off x="7405768" y="5509654"/>
              <a:ext cx="111344" cy="11133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A81AFA5-1F29-2D54-A7D0-32DF963E7F64}"/>
                </a:ext>
              </a:extLst>
            </p:cNvPr>
            <p:cNvSpPr/>
            <p:nvPr userDrawn="1"/>
          </p:nvSpPr>
          <p:spPr>
            <a:xfrm>
              <a:off x="6551946" y="6237798"/>
              <a:ext cx="111344" cy="1113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1800501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01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46198" y="2329154"/>
            <a:ext cx="4978402" cy="2997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46198" y="1982503"/>
            <a:ext cx="49784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1D3BEF7E-A3D2-675B-81FE-CB843542E99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27999" y="1"/>
            <a:ext cx="4063998" cy="5326743"/>
          </a:xfrm>
          <a:custGeom>
            <a:avLst/>
            <a:gdLst>
              <a:gd name="connsiteX0" fmla="*/ 0 w 4063998"/>
              <a:gd name="connsiteY0" fmla="*/ 0 h 5326743"/>
              <a:gd name="connsiteX1" fmla="*/ 4063998 w 4063998"/>
              <a:gd name="connsiteY1" fmla="*/ 0 h 5326743"/>
              <a:gd name="connsiteX2" fmla="*/ 4063998 w 4063998"/>
              <a:gd name="connsiteY2" fmla="*/ 5326743 h 5326743"/>
              <a:gd name="connsiteX3" fmla="*/ 1083746 w 4063998"/>
              <a:gd name="connsiteY3" fmla="*/ 5326743 h 5326743"/>
              <a:gd name="connsiteX4" fmla="*/ 0 w 4063998"/>
              <a:gd name="connsiteY4" fmla="*/ 4242997 h 5326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3998" h="5326743">
                <a:moveTo>
                  <a:pt x="0" y="0"/>
                </a:moveTo>
                <a:lnTo>
                  <a:pt x="4063998" y="0"/>
                </a:lnTo>
                <a:lnTo>
                  <a:pt x="4063998" y="5326743"/>
                </a:lnTo>
                <a:lnTo>
                  <a:pt x="1083746" y="5326743"/>
                </a:lnTo>
                <a:cubicBezTo>
                  <a:pt x="485210" y="5326743"/>
                  <a:pt x="0" y="4841533"/>
                  <a:pt x="0" y="4242997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B95FA25-29D4-C4CD-89F3-AA96A89A6DC3}"/>
              </a:ext>
            </a:extLst>
          </p:cNvPr>
          <p:cNvGrpSpPr/>
          <p:nvPr userDrawn="1"/>
        </p:nvGrpSpPr>
        <p:grpSpPr>
          <a:xfrm rot="16200000">
            <a:off x="1548777" y="112009"/>
            <a:ext cx="4431973" cy="7529527"/>
            <a:chOff x="5438189" y="-2943952"/>
            <a:chExt cx="4431973" cy="7529527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FCF8A89-C762-7C27-5724-3A4634373960}"/>
                </a:ext>
              </a:extLst>
            </p:cNvPr>
            <p:cNvSpPr/>
            <p:nvPr userDrawn="1"/>
          </p:nvSpPr>
          <p:spPr>
            <a:xfrm>
              <a:off x="5438189" y="4524523"/>
              <a:ext cx="61052" cy="610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001A550-23FE-780F-6120-67B7FA1AD6FE}"/>
                </a:ext>
              </a:extLst>
            </p:cNvPr>
            <p:cNvGrpSpPr/>
            <p:nvPr userDrawn="1"/>
          </p:nvGrpSpPr>
          <p:grpSpPr>
            <a:xfrm rot="10800000">
              <a:off x="5499241" y="-2943952"/>
              <a:ext cx="4370921" cy="7499000"/>
              <a:chOff x="7642044" y="2311515"/>
              <a:chExt cx="4370921" cy="7499000"/>
            </a:xfrm>
            <a:noFill/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4F97B98E-90F4-1B25-A8AA-65936031F87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4455341" y="6621447"/>
                <a:ext cx="6378137" cy="0"/>
              </a:xfrm>
              <a:prstGeom prst="line">
                <a:avLst/>
              </a:prstGeom>
              <a:grpFill/>
              <a:ln>
                <a:gradFill>
                  <a:gsLst>
                    <a:gs pos="0">
                      <a:schemeClr val="accent2"/>
                    </a:gs>
                    <a:gs pos="99029">
                      <a:schemeClr val="bg1"/>
                    </a:gs>
                    <a:gs pos="74000">
                      <a:schemeClr val="accent2"/>
                    </a:gs>
                  </a:gsLst>
                  <a:lin ang="108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Arc 11">
                <a:extLst>
                  <a:ext uri="{FF2B5EF4-FFF2-40B4-BE49-F238E27FC236}">
                    <a16:creationId xmlns:a16="http://schemas.microsoft.com/office/drawing/2014/main" id="{0ABE71AE-210D-E94B-A389-4EB97E52178E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CB3428D5-4E95-51A0-BCA1-6B44C45B1122}"/>
                  </a:ext>
                </a:extLst>
              </p:cNvPr>
              <p:cNvCxnSpPr>
                <a:cxnSpLocks/>
                <a:stCxn id="8" idx="6"/>
              </p:cNvCxnSpPr>
              <p:nvPr userDrawn="1"/>
            </p:nvCxnSpPr>
            <p:spPr>
              <a:xfrm rot="16200000" flipH="1" flipV="1">
                <a:off x="10379737" y="689361"/>
                <a:ext cx="11074" cy="3255382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92587227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C0C30267-E5CB-B762-D527-21FAAB91AB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1113" y="0"/>
            <a:ext cx="12203113" cy="6858000"/>
          </a:xfrm>
        </p:spPr>
        <p:txBody>
          <a:bodyPr/>
          <a:lstStyle/>
          <a:p>
            <a:endParaRPr lang="pt-BR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73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E00643-E239-6243-117A-7FBB76CC27A6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itle Placeholder 1">
            <a:extLst>
              <a:ext uri="{FF2B5EF4-FFF2-40B4-BE49-F238E27FC236}">
                <a16:creationId xmlns:a16="http://schemas.microsoft.com/office/drawing/2014/main" id="{3A573AE6-8C73-5B06-3BD8-B4989FC1F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2849879"/>
            <a:ext cx="5791202" cy="47244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7762923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B91BE5-8398-34E9-A9DC-EA73947F533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40213" y="0"/>
            <a:ext cx="7951787" cy="6172200"/>
          </a:xfrm>
        </p:spPr>
        <p:txBody>
          <a:bodyPr/>
          <a:lstStyle/>
          <a:p>
            <a:endParaRPr lang="pt-BR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857A4050-18E9-29DC-F093-6D51C53D3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2849879"/>
            <a:ext cx="3642949" cy="47244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846948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shap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C0C30267-E5CB-B762-D527-21FAAB91AB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1113" y="0"/>
            <a:ext cx="12203113" cy="6858000"/>
          </a:xfrm>
        </p:spPr>
        <p:txBody>
          <a:bodyPr/>
          <a:lstStyle/>
          <a:p>
            <a:endParaRPr lang="pt-BR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73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E00643-E239-6243-117A-7FBB76CC27A6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C2F40C5-EFD3-9C6A-AA3A-40062DB29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089387"/>
            <a:ext cx="3709989" cy="4682911"/>
          </a:xfrm>
          <a:prstGeom prst="roundRect">
            <a:avLst/>
          </a:prstGeom>
          <a:solidFill>
            <a:schemeClr val="accent2"/>
          </a:solidFill>
        </p:spPr>
        <p:txBody>
          <a:bodyPr wrap="square" lIns="108000" tIns="972000" rIns="108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1" cap="none" baseline="0">
                <a:solidFill>
                  <a:schemeClr val="bg1"/>
                </a:solidFill>
                <a:latin typeface="+mj-lt"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endParaRPr lang="en-US"/>
          </a:p>
          <a:p>
            <a:pPr lvl="0"/>
            <a:endParaRPr lang="en-US"/>
          </a:p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904105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443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9818BBB1-08D4-DB98-EB0A-7E8F6859B079}"/>
              </a:ext>
            </a:extLst>
          </p:cNvPr>
          <p:cNvGrpSpPr/>
          <p:nvPr userDrawn="1"/>
        </p:nvGrpSpPr>
        <p:grpSpPr>
          <a:xfrm>
            <a:off x="7038973" y="-2"/>
            <a:ext cx="5153025" cy="5441234"/>
            <a:chOff x="7038973" y="-2"/>
            <a:chExt cx="5153025" cy="5441234"/>
          </a:xfrm>
        </p:grpSpPr>
        <p:sp>
          <p:nvSpPr>
            <p:cNvPr id="9" name="Rectangle: Single Corner Rounded 8">
              <a:extLst>
                <a:ext uri="{FF2B5EF4-FFF2-40B4-BE49-F238E27FC236}">
                  <a16:creationId xmlns:a16="http://schemas.microsoft.com/office/drawing/2014/main" id="{9CC54BBA-8FD0-2688-1E49-9BD8C6B72012}"/>
                </a:ext>
              </a:extLst>
            </p:cNvPr>
            <p:cNvSpPr/>
            <p:nvPr userDrawn="1"/>
          </p:nvSpPr>
          <p:spPr>
            <a:xfrm rot="10800000">
              <a:off x="8882742" y="-2"/>
              <a:ext cx="3309253" cy="5326742"/>
            </a:xfrm>
            <a:prstGeom prst="round1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161E342-5445-23B5-2174-E835ECA484F5}"/>
                </a:ext>
              </a:extLst>
            </p:cNvPr>
            <p:cNvGrpSpPr/>
            <p:nvPr userDrawn="1"/>
          </p:nvGrpSpPr>
          <p:grpSpPr>
            <a:xfrm flipV="1">
              <a:off x="7038973" y="0"/>
              <a:ext cx="5153025" cy="5441232"/>
              <a:chOff x="5618264" y="-11928"/>
              <a:chExt cx="6573736" cy="6869928"/>
            </a:xfrm>
            <a:solidFill>
              <a:schemeClr val="bg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3CDF3103-1171-FF95-236F-6D472C6A50B6}"/>
                  </a:ext>
                </a:extLst>
              </p:cNvPr>
              <p:cNvSpPr/>
              <p:nvPr/>
            </p:nvSpPr>
            <p:spPr>
              <a:xfrm rot="10800000">
                <a:off x="8950152" y="-11928"/>
                <a:ext cx="3241848" cy="6204431"/>
              </a:xfrm>
              <a:custGeom>
                <a:avLst/>
                <a:gdLst>
                  <a:gd name="connsiteX0" fmla="*/ 3006543 w 3006542"/>
                  <a:gd name="connsiteY0" fmla="*/ 5754090 h 5754089"/>
                  <a:gd name="connsiteX1" fmla="*/ 2998380 w 3006542"/>
                  <a:gd name="connsiteY1" fmla="*/ 5754090 h 5754089"/>
                  <a:gd name="connsiteX2" fmla="*/ 2998380 w 3006542"/>
                  <a:gd name="connsiteY2" fmla="*/ 1652547 h 5754089"/>
                  <a:gd name="connsiteX3" fmla="*/ 2604394 w 3006542"/>
                  <a:gd name="connsiteY3" fmla="*/ 1258246 h 5754089"/>
                  <a:gd name="connsiteX4" fmla="*/ 1481453 w 3006542"/>
                  <a:gd name="connsiteY4" fmla="*/ 1258246 h 5754089"/>
                  <a:gd name="connsiteX5" fmla="*/ 1078990 w 3006542"/>
                  <a:gd name="connsiteY5" fmla="*/ 856097 h 5754089"/>
                  <a:gd name="connsiteX6" fmla="*/ 1078990 w 3006542"/>
                  <a:gd name="connsiteY6" fmla="*/ 402149 h 5754089"/>
                  <a:gd name="connsiteX7" fmla="*/ 685003 w 3006542"/>
                  <a:gd name="connsiteY7" fmla="*/ 7848 h 5754089"/>
                  <a:gd name="connsiteX8" fmla="*/ 0 w 3006542"/>
                  <a:gd name="connsiteY8" fmla="*/ 7848 h 5754089"/>
                  <a:gd name="connsiteX9" fmla="*/ 0 w 3006542"/>
                  <a:gd name="connsiteY9" fmla="*/ 0 h 5754089"/>
                  <a:gd name="connsiteX10" fmla="*/ 685003 w 3006542"/>
                  <a:gd name="connsiteY10" fmla="*/ 0 h 5754089"/>
                  <a:gd name="connsiteX11" fmla="*/ 1087152 w 3006542"/>
                  <a:gd name="connsiteY11" fmla="*/ 402149 h 5754089"/>
                  <a:gd name="connsiteX12" fmla="*/ 1087152 w 3006542"/>
                  <a:gd name="connsiteY12" fmla="*/ 856097 h 5754089"/>
                  <a:gd name="connsiteX13" fmla="*/ 1481453 w 3006542"/>
                  <a:gd name="connsiteY13" fmla="*/ 1250398 h 5754089"/>
                  <a:gd name="connsiteX14" fmla="*/ 2604394 w 3006542"/>
                  <a:gd name="connsiteY14" fmla="*/ 1250398 h 5754089"/>
                  <a:gd name="connsiteX15" fmla="*/ 3006543 w 3006542"/>
                  <a:gd name="connsiteY15" fmla="*/ 1652547 h 5754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06542" h="5754089">
                    <a:moveTo>
                      <a:pt x="3006543" y="5754090"/>
                    </a:moveTo>
                    <a:lnTo>
                      <a:pt x="2998380" y="5754090"/>
                    </a:lnTo>
                    <a:lnTo>
                      <a:pt x="2998380" y="1652547"/>
                    </a:lnTo>
                    <a:cubicBezTo>
                      <a:pt x="2998380" y="1435305"/>
                      <a:pt x="2821636" y="1258246"/>
                      <a:pt x="2604394" y="1258246"/>
                    </a:cubicBezTo>
                    <a:lnTo>
                      <a:pt x="1481453" y="1258246"/>
                    </a:lnTo>
                    <a:cubicBezTo>
                      <a:pt x="1259502" y="1258246"/>
                      <a:pt x="1078990" y="1078048"/>
                      <a:pt x="1078990" y="856097"/>
                    </a:cubicBezTo>
                    <a:lnTo>
                      <a:pt x="1078990" y="402149"/>
                    </a:lnTo>
                    <a:cubicBezTo>
                      <a:pt x="1078990" y="184907"/>
                      <a:pt x="902245" y="7848"/>
                      <a:pt x="685003" y="7848"/>
                    </a:cubicBezTo>
                    <a:lnTo>
                      <a:pt x="0" y="7848"/>
                    </a:lnTo>
                    <a:lnTo>
                      <a:pt x="0" y="0"/>
                    </a:lnTo>
                    <a:lnTo>
                      <a:pt x="685003" y="0"/>
                    </a:lnTo>
                    <a:cubicBezTo>
                      <a:pt x="906640" y="0"/>
                      <a:pt x="1087152" y="180512"/>
                      <a:pt x="1087152" y="402149"/>
                    </a:cubicBezTo>
                    <a:lnTo>
                      <a:pt x="1087152" y="856097"/>
                    </a:lnTo>
                    <a:cubicBezTo>
                      <a:pt x="1087152" y="1073653"/>
                      <a:pt x="1263897" y="1250398"/>
                      <a:pt x="1481453" y="1250398"/>
                    </a:cubicBezTo>
                    <a:lnTo>
                      <a:pt x="2604394" y="1250398"/>
                    </a:lnTo>
                    <a:cubicBezTo>
                      <a:pt x="2826031" y="1250398"/>
                      <a:pt x="3006543" y="1430909"/>
                      <a:pt x="3006543" y="1652547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C373495-747F-DDDA-0F34-EA1B349BE78E}"/>
                  </a:ext>
                </a:extLst>
              </p:cNvPr>
              <p:cNvSpPr/>
              <p:nvPr/>
            </p:nvSpPr>
            <p:spPr>
              <a:xfrm rot="10800000">
                <a:off x="9113311" y="5496877"/>
                <a:ext cx="3078689" cy="1361123"/>
              </a:xfrm>
              <a:custGeom>
                <a:avLst/>
                <a:gdLst>
                  <a:gd name="connsiteX0" fmla="*/ 2453078 w 2855226"/>
                  <a:gd name="connsiteY0" fmla="*/ 1262327 h 1262327"/>
                  <a:gd name="connsiteX1" fmla="*/ 0 w 2855226"/>
                  <a:gd name="connsiteY1" fmla="*/ 1262327 h 1262327"/>
                  <a:gd name="connsiteX2" fmla="*/ 0 w 2855226"/>
                  <a:gd name="connsiteY2" fmla="*/ 1254479 h 1262327"/>
                  <a:gd name="connsiteX3" fmla="*/ 2453078 w 2855226"/>
                  <a:gd name="connsiteY3" fmla="*/ 1254479 h 1262327"/>
                  <a:gd name="connsiteX4" fmla="*/ 2847064 w 2855226"/>
                  <a:gd name="connsiteY4" fmla="*/ 860178 h 1262327"/>
                  <a:gd name="connsiteX5" fmla="*/ 2847064 w 2855226"/>
                  <a:gd name="connsiteY5" fmla="*/ 0 h 1262327"/>
                  <a:gd name="connsiteX6" fmla="*/ 2855227 w 2855226"/>
                  <a:gd name="connsiteY6" fmla="*/ 0 h 1262327"/>
                  <a:gd name="connsiteX7" fmla="*/ 2855227 w 2855226"/>
                  <a:gd name="connsiteY7" fmla="*/ 860178 h 1262327"/>
                  <a:gd name="connsiteX8" fmla="*/ 2453078 w 2855226"/>
                  <a:gd name="connsiteY8" fmla="*/ 1262327 h 1262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5226" h="1262327">
                    <a:moveTo>
                      <a:pt x="2453078" y="1262327"/>
                    </a:moveTo>
                    <a:lnTo>
                      <a:pt x="0" y="1262327"/>
                    </a:lnTo>
                    <a:lnTo>
                      <a:pt x="0" y="1254479"/>
                    </a:lnTo>
                    <a:lnTo>
                      <a:pt x="2453078" y="1254479"/>
                    </a:lnTo>
                    <a:cubicBezTo>
                      <a:pt x="2670320" y="1254479"/>
                      <a:pt x="2847064" y="1077420"/>
                      <a:pt x="2847064" y="860178"/>
                    </a:cubicBezTo>
                    <a:lnTo>
                      <a:pt x="2847064" y="0"/>
                    </a:lnTo>
                    <a:lnTo>
                      <a:pt x="2855227" y="0"/>
                    </a:lnTo>
                    <a:lnTo>
                      <a:pt x="2855227" y="860178"/>
                    </a:lnTo>
                    <a:cubicBezTo>
                      <a:pt x="2855227" y="1081815"/>
                      <a:pt x="2674715" y="1262327"/>
                      <a:pt x="2453078" y="1262327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2CBE834E-29AA-C502-5899-AD89832513BA}"/>
                  </a:ext>
                </a:extLst>
              </p:cNvPr>
              <p:cNvSpPr/>
              <p:nvPr/>
            </p:nvSpPr>
            <p:spPr>
              <a:xfrm rot="10800000">
                <a:off x="5674117" y="4354767"/>
                <a:ext cx="4366694" cy="2503233"/>
              </a:xfrm>
              <a:custGeom>
                <a:avLst/>
                <a:gdLst>
                  <a:gd name="connsiteX0" fmla="*/ 4049744 w 4049743"/>
                  <a:gd name="connsiteY0" fmla="*/ 2321539 h 2321539"/>
                  <a:gd name="connsiteX1" fmla="*/ 2600312 w 4049743"/>
                  <a:gd name="connsiteY1" fmla="*/ 2321539 h 2321539"/>
                  <a:gd name="connsiteX2" fmla="*/ 2198164 w 4049743"/>
                  <a:gd name="connsiteY2" fmla="*/ 1919390 h 2321539"/>
                  <a:gd name="connsiteX3" fmla="*/ 2198164 w 4049743"/>
                  <a:gd name="connsiteY3" fmla="*/ 1146800 h 2321539"/>
                  <a:gd name="connsiteX4" fmla="*/ 1803863 w 4049743"/>
                  <a:gd name="connsiteY4" fmla="*/ 752499 h 2321539"/>
                  <a:gd name="connsiteX5" fmla="*/ 402149 w 4049743"/>
                  <a:gd name="connsiteY5" fmla="*/ 752499 h 2321539"/>
                  <a:gd name="connsiteX6" fmla="*/ 0 w 4049743"/>
                  <a:gd name="connsiteY6" fmla="*/ 350350 h 2321539"/>
                  <a:gd name="connsiteX7" fmla="*/ 0 w 4049743"/>
                  <a:gd name="connsiteY7" fmla="*/ 0 h 2321539"/>
                  <a:gd name="connsiteX8" fmla="*/ 7848 w 4049743"/>
                  <a:gd name="connsiteY8" fmla="*/ 0 h 2321539"/>
                  <a:gd name="connsiteX9" fmla="*/ 7848 w 4049743"/>
                  <a:gd name="connsiteY9" fmla="*/ 350350 h 2321539"/>
                  <a:gd name="connsiteX10" fmla="*/ 402149 w 4049743"/>
                  <a:gd name="connsiteY10" fmla="*/ 744651 h 2321539"/>
                  <a:gd name="connsiteX11" fmla="*/ 1803863 w 4049743"/>
                  <a:gd name="connsiteY11" fmla="*/ 744651 h 2321539"/>
                  <a:gd name="connsiteX12" fmla="*/ 2206012 w 4049743"/>
                  <a:gd name="connsiteY12" fmla="*/ 1146800 h 2321539"/>
                  <a:gd name="connsiteX13" fmla="*/ 2206012 w 4049743"/>
                  <a:gd name="connsiteY13" fmla="*/ 1919390 h 2321539"/>
                  <a:gd name="connsiteX14" fmla="*/ 2600312 w 4049743"/>
                  <a:gd name="connsiteY14" fmla="*/ 2313691 h 2321539"/>
                  <a:gd name="connsiteX15" fmla="*/ 4049744 w 4049743"/>
                  <a:gd name="connsiteY15" fmla="*/ 2313691 h 2321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049743" h="2321539">
                    <a:moveTo>
                      <a:pt x="4049744" y="2321539"/>
                    </a:moveTo>
                    <a:lnTo>
                      <a:pt x="2600312" y="2321539"/>
                    </a:lnTo>
                    <a:cubicBezTo>
                      <a:pt x="2378675" y="2321539"/>
                      <a:pt x="2198164" y="2141028"/>
                      <a:pt x="2198164" y="1919390"/>
                    </a:cubicBezTo>
                    <a:lnTo>
                      <a:pt x="2198164" y="1146800"/>
                    </a:lnTo>
                    <a:cubicBezTo>
                      <a:pt x="2198164" y="929557"/>
                      <a:pt x="2021105" y="752499"/>
                      <a:pt x="1803863" y="752499"/>
                    </a:cubicBezTo>
                    <a:lnTo>
                      <a:pt x="402149" y="752499"/>
                    </a:lnTo>
                    <a:cubicBezTo>
                      <a:pt x="180512" y="752499"/>
                      <a:pt x="0" y="572301"/>
                      <a:pt x="0" y="350350"/>
                    </a:cubicBezTo>
                    <a:lnTo>
                      <a:pt x="0" y="0"/>
                    </a:lnTo>
                    <a:lnTo>
                      <a:pt x="7848" y="0"/>
                    </a:lnTo>
                    <a:lnTo>
                      <a:pt x="7848" y="350350"/>
                    </a:lnTo>
                    <a:cubicBezTo>
                      <a:pt x="7848" y="567906"/>
                      <a:pt x="184907" y="744651"/>
                      <a:pt x="402149" y="744651"/>
                    </a:cubicBezTo>
                    <a:lnTo>
                      <a:pt x="1803863" y="744651"/>
                    </a:lnTo>
                    <a:cubicBezTo>
                      <a:pt x="2025500" y="744651"/>
                      <a:pt x="2206012" y="925162"/>
                      <a:pt x="2206012" y="1146800"/>
                    </a:cubicBezTo>
                    <a:lnTo>
                      <a:pt x="2206012" y="1919390"/>
                    </a:lnTo>
                    <a:cubicBezTo>
                      <a:pt x="2206012" y="2136632"/>
                      <a:pt x="2383071" y="2313691"/>
                      <a:pt x="2600312" y="2313691"/>
                    </a:cubicBezTo>
                    <a:lnTo>
                      <a:pt x="4049744" y="2313691"/>
                    </a:ln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2D47E780-AC5E-430D-35D6-40B89E8A3A3D}"/>
                  </a:ext>
                </a:extLst>
              </p:cNvPr>
              <p:cNvSpPr/>
              <p:nvPr/>
            </p:nvSpPr>
            <p:spPr>
              <a:xfrm rot="10800000">
                <a:off x="10496098" y="-11928"/>
                <a:ext cx="1695902" cy="1747355"/>
              </a:xfrm>
              <a:custGeom>
                <a:avLst/>
                <a:gdLst>
                  <a:gd name="connsiteX0" fmla="*/ 1572808 w 1572807"/>
                  <a:gd name="connsiteY0" fmla="*/ 1620525 h 1620525"/>
                  <a:gd name="connsiteX1" fmla="*/ 1564959 w 1572807"/>
                  <a:gd name="connsiteY1" fmla="*/ 1620525 h 1620525"/>
                  <a:gd name="connsiteX2" fmla="*/ 1564959 w 1572807"/>
                  <a:gd name="connsiteY2" fmla="*/ 402149 h 1620525"/>
                  <a:gd name="connsiteX3" fmla="*/ 1170659 w 1572807"/>
                  <a:gd name="connsiteY3" fmla="*/ 7848 h 1620525"/>
                  <a:gd name="connsiteX4" fmla="*/ 0 w 1572807"/>
                  <a:gd name="connsiteY4" fmla="*/ 7848 h 1620525"/>
                  <a:gd name="connsiteX5" fmla="*/ 0 w 1572807"/>
                  <a:gd name="connsiteY5" fmla="*/ 0 h 1620525"/>
                  <a:gd name="connsiteX6" fmla="*/ 1170659 w 1572807"/>
                  <a:gd name="connsiteY6" fmla="*/ 0 h 1620525"/>
                  <a:gd name="connsiteX7" fmla="*/ 1572808 w 1572807"/>
                  <a:gd name="connsiteY7" fmla="*/ 402149 h 162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2807" h="1620525">
                    <a:moveTo>
                      <a:pt x="1572808" y="1620525"/>
                    </a:moveTo>
                    <a:lnTo>
                      <a:pt x="1564959" y="1620525"/>
                    </a:lnTo>
                    <a:lnTo>
                      <a:pt x="1564959" y="402149"/>
                    </a:lnTo>
                    <a:cubicBezTo>
                      <a:pt x="1564959" y="184593"/>
                      <a:pt x="1388215" y="7848"/>
                      <a:pt x="1170659" y="7848"/>
                    </a:cubicBezTo>
                    <a:lnTo>
                      <a:pt x="0" y="7848"/>
                    </a:lnTo>
                    <a:lnTo>
                      <a:pt x="0" y="0"/>
                    </a:lnTo>
                    <a:lnTo>
                      <a:pt x="1170659" y="0"/>
                    </a:lnTo>
                    <a:cubicBezTo>
                      <a:pt x="1392610" y="0"/>
                      <a:pt x="1572808" y="180198"/>
                      <a:pt x="1572808" y="402149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E2AA3D95-8961-47B7-CAA1-D6F51B24134A}"/>
                  </a:ext>
                </a:extLst>
              </p:cNvPr>
              <p:cNvSpPr/>
              <p:nvPr/>
            </p:nvSpPr>
            <p:spPr>
              <a:xfrm rot="10800000">
                <a:off x="8709816" y="6012082"/>
                <a:ext cx="77179" cy="77516"/>
              </a:xfrm>
              <a:custGeom>
                <a:avLst/>
                <a:gdLst>
                  <a:gd name="connsiteX0" fmla="*/ 71577 w 71577"/>
                  <a:gd name="connsiteY0" fmla="*/ 36102 h 71890"/>
                  <a:gd name="connsiteX1" fmla="*/ 35789 w 71577"/>
                  <a:gd name="connsiteY1" fmla="*/ 71891 h 71890"/>
                  <a:gd name="connsiteX2" fmla="*/ 0 w 71577"/>
                  <a:gd name="connsiteY2" fmla="*/ 36102 h 71890"/>
                  <a:gd name="connsiteX3" fmla="*/ 35789 w 71577"/>
                  <a:gd name="connsiteY3" fmla="*/ 0 h 71890"/>
                  <a:gd name="connsiteX4" fmla="*/ 71577 w 71577"/>
                  <a:gd name="connsiteY4" fmla="*/ 36102 h 7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7" h="71890">
                    <a:moveTo>
                      <a:pt x="71577" y="36102"/>
                    </a:moveTo>
                    <a:cubicBezTo>
                      <a:pt x="71577" y="55880"/>
                      <a:pt x="55566" y="71891"/>
                      <a:pt x="35789" y="71891"/>
                    </a:cubicBezTo>
                    <a:cubicBezTo>
                      <a:pt x="16011" y="71891"/>
                      <a:pt x="0" y="55880"/>
                      <a:pt x="0" y="36102"/>
                    </a:cubicBezTo>
                    <a:cubicBezTo>
                      <a:pt x="0" y="16325"/>
                      <a:pt x="16011" y="0"/>
                      <a:pt x="35789" y="0"/>
                    </a:cubicBezTo>
                    <a:cubicBezTo>
                      <a:pt x="55566" y="0"/>
                      <a:pt x="71577" y="16325"/>
                      <a:pt x="71577" y="36102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58C39664-011E-D51D-069E-845B41EEB937}"/>
                  </a:ext>
                </a:extLst>
              </p:cNvPr>
              <p:cNvSpPr/>
              <p:nvPr/>
            </p:nvSpPr>
            <p:spPr>
              <a:xfrm rot="10800000">
                <a:off x="10289951" y="5462690"/>
                <a:ext cx="77178" cy="77178"/>
              </a:xfrm>
              <a:custGeom>
                <a:avLst/>
                <a:gdLst>
                  <a:gd name="connsiteX0" fmla="*/ 71577 w 71576"/>
                  <a:gd name="connsiteY0" fmla="*/ 35788 h 71576"/>
                  <a:gd name="connsiteX1" fmla="*/ 35789 w 71576"/>
                  <a:gd name="connsiteY1" fmla="*/ 71577 h 71576"/>
                  <a:gd name="connsiteX2" fmla="*/ 0 w 71576"/>
                  <a:gd name="connsiteY2" fmla="*/ 35788 h 71576"/>
                  <a:gd name="connsiteX3" fmla="*/ 35789 w 71576"/>
                  <a:gd name="connsiteY3" fmla="*/ 0 h 71576"/>
                  <a:gd name="connsiteX4" fmla="*/ 71577 w 71576"/>
                  <a:gd name="connsiteY4" fmla="*/ 35788 h 7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6" h="71576">
                    <a:moveTo>
                      <a:pt x="71577" y="35788"/>
                    </a:moveTo>
                    <a:cubicBezTo>
                      <a:pt x="71577" y="55566"/>
                      <a:pt x="55566" y="71577"/>
                      <a:pt x="35789" y="71577"/>
                    </a:cubicBezTo>
                    <a:cubicBezTo>
                      <a:pt x="16011" y="71577"/>
                      <a:pt x="0" y="55566"/>
                      <a:pt x="0" y="35788"/>
                    </a:cubicBezTo>
                    <a:cubicBezTo>
                      <a:pt x="0" y="16011"/>
                      <a:pt x="16011" y="0"/>
                      <a:pt x="35789" y="0"/>
                    </a:cubicBezTo>
                    <a:cubicBezTo>
                      <a:pt x="55566" y="0"/>
                      <a:pt x="71577" y="16011"/>
                      <a:pt x="71577" y="35788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D1235A7-1CFC-16FE-850F-88B3EA693D26}"/>
                  </a:ext>
                </a:extLst>
              </p:cNvPr>
              <p:cNvSpPr/>
              <p:nvPr/>
            </p:nvSpPr>
            <p:spPr>
              <a:xfrm rot="10800000">
                <a:off x="8915965" y="686503"/>
                <a:ext cx="77178" cy="77178"/>
              </a:xfrm>
              <a:custGeom>
                <a:avLst/>
                <a:gdLst>
                  <a:gd name="connsiteX0" fmla="*/ 71577 w 71576"/>
                  <a:gd name="connsiteY0" fmla="*/ 35788 h 71576"/>
                  <a:gd name="connsiteX1" fmla="*/ 35788 w 71576"/>
                  <a:gd name="connsiteY1" fmla="*/ 71577 h 71576"/>
                  <a:gd name="connsiteX2" fmla="*/ 0 w 71576"/>
                  <a:gd name="connsiteY2" fmla="*/ 35788 h 71576"/>
                  <a:gd name="connsiteX3" fmla="*/ 35788 w 71576"/>
                  <a:gd name="connsiteY3" fmla="*/ 0 h 71576"/>
                  <a:gd name="connsiteX4" fmla="*/ 71577 w 71576"/>
                  <a:gd name="connsiteY4" fmla="*/ 35788 h 7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6" h="71576">
                    <a:moveTo>
                      <a:pt x="71577" y="35788"/>
                    </a:moveTo>
                    <a:cubicBezTo>
                      <a:pt x="71577" y="55566"/>
                      <a:pt x="55566" y="71577"/>
                      <a:pt x="35788" y="71577"/>
                    </a:cubicBezTo>
                    <a:cubicBezTo>
                      <a:pt x="16011" y="71577"/>
                      <a:pt x="0" y="55566"/>
                      <a:pt x="0" y="35788"/>
                    </a:cubicBezTo>
                    <a:cubicBezTo>
                      <a:pt x="0" y="16011"/>
                      <a:pt x="16011" y="0"/>
                      <a:pt x="35788" y="0"/>
                    </a:cubicBezTo>
                    <a:cubicBezTo>
                      <a:pt x="55566" y="0"/>
                      <a:pt x="71577" y="16011"/>
                      <a:pt x="71577" y="35788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533B0EB6-9415-6887-804E-161020A5F296}"/>
                  </a:ext>
                </a:extLst>
              </p:cNvPr>
              <p:cNvSpPr/>
              <p:nvPr/>
            </p:nvSpPr>
            <p:spPr>
              <a:xfrm rot="10800000">
                <a:off x="10461572" y="524600"/>
                <a:ext cx="77178" cy="77516"/>
              </a:xfrm>
              <a:custGeom>
                <a:avLst/>
                <a:gdLst>
                  <a:gd name="connsiteX0" fmla="*/ 71577 w 71576"/>
                  <a:gd name="connsiteY0" fmla="*/ 36102 h 71890"/>
                  <a:gd name="connsiteX1" fmla="*/ 35788 w 71576"/>
                  <a:gd name="connsiteY1" fmla="*/ 71890 h 71890"/>
                  <a:gd name="connsiteX2" fmla="*/ 0 w 71576"/>
                  <a:gd name="connsiteY2" fmla="*/ 36102 h 71890"/>
                  <a:gd name="connsiteX3" fmla="*/ 35788 w 71576"/>
                  <a:gd name="connsiteY3" fmla="*/ 0 h 71890"/>
                  <a:gd name="connsiteX4" fmla="*/ 71577 w 71576"/>
                  <a:gd name="connsiteY4" fmla="*/ 36102 h 7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6" h="71890">
                    <a:moveTo>
                      <a:pt x="71577" y="36102"/>
                    </a:moveTo>
                    <a:cubicBezTo>
                      <a:pt x="71577" y="55880"/>
                      <a:pt x="55566" y="71890"/>
                      <a:pt x="35788" y="71890"/>
                    </a:cubicBezTo>
                    <a:cubicBezTo>
                      <a:pt x="16011" y="71890"/>
                      <a:pt x="0" y="55880"/>
                      <a:pt x="0" y="36102"/>
                    </a:cubicBezTo>
                    <a:cubicBezTo>
                      <a:pt x="0" y="16324"/>
                      <a:pt x="16011" y="0"/>
                      <a:pt x="35788" y="0"/>
                    </a:cubicBezTo>
                    <a:cubicBezTo>
                      <a:pt x="55566" y="0"/>
                      <a:pt x="71577" y="16324"/>
                      <a:pt x="71577" y="36102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C0342E1-3D79-3066-DFCD-75371E0B4448}"/>
                  </a:ext>
                </a:extLst>
              </p:cNvPr>
              <p:cNvSpPr/>
              <p:nvPr userDrawn="1"/>
            </p:nvSpPr>
            <p:spPr>
              <a:xfrm rot="10800000">
                <a:off x="5618264" y="4298914"/>
                <a:ext cx="111706" cy="111706"/>
              </a:xfrm>
              <a:custGeom>
                <a:avLst/>
                <a:gdLst>
                  <a:gd name="connsiteX0" fmla="*/ 103598 w 103598"/>
                  <a:gd name="connsiteY0" fmla="*/ 51799 h 103598"/>
                  <a:gd name="connsiteX1" fmla="*/ 51799 w 103598"/>
                  <a:gd name="connsiteY1" fmla="*/ 103598 h 103598"/>
                  <a:gd name="connsiteX2" fmla="*/ 0 w 103598"/>
                  <a:gd name="connsiteY2" fmla="*/ 51799 h 103598"/>
                  <a:gd name="connsiteX3" fmla="*/ 51799 w 103598"/>
                  <a:gd name="connsiteY3" fmla="*/ 0 h 103598"/>
                  <a:gd name="connsiteX4" fmla="*/ 103598 w 103598"/>
                  <a:gd name="connsiteY4" fmla="*/ 51799 h 10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598" h="103598">
                    <a:moveTo>
                      <a:pt x="103598" y="51799"/>
                    </a:moveTo>
                    <a:cubicBezTo>
                      <a:pt x="103598" y="80367"/>
                      <a:pt x="80367" y="103598"/>
                      <a:pt x="51799" y="103598"/>
                    </a:cubicBezTo>
                    <a:cubicBezTo>
                      <a:pt x="23231" y="103598"/>
                      <a:pt x="0" y="80367"/>
                      <a:pt x="0" y="51799"/>
                    </a:cubicBezTo>
                    <a:cubicBezTo>
                      <a:pt x="0" y="23231"/>
                      <a:pt x="23231" y="0"/>
                      <a:pt x="51799" y="0"/>
                    </a:cubicBezTo>
                    <a:cubicBezTo>
                      <a:pt x="80367" y="0"/>
                      <a:pt x="103598" y="23231"/>
                      <a:pt x="103598" y="51799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483696"/>
            <a:ext cx="4696569" cy="46866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469656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BD31EA8-F325-B80A-05FF-4389291E3FF2}"/>
              </a:ext>
            </a:extLst>
          </p:cNvPr>
          <p:cNvGrpSpPr/>
          <p:nvPr userDrawn="1"/>
        </p:nvGrpSpPr>
        <p:grpSpPr>
          <a:xfrm>
            <a:off x="5210917" y="1133681"/>
            <a:ext cx="3505200" cy="5724319"/>
            <a:chOff x="4705350" y="1133681"/>
            <a:chExt cx="3505200" cy="5724319"/>
          </a:xfrm>
        </p:grpSpPr>
        <p:pic>
          <p:nvPicPr>
            <p:cNvPr id="5" name="Picture 4" descr="A picture containing text, person, holding, hand&#10;&#10;Description automatically generated">
              <a:extLst>
                <a:ext uri="{FF2B5EF4-FFF2-40B4-BE49-F238E27FC236}">
                  <a16:creationId xmlns:a16="http://schemas.microsoft.com/office/drawing/2014/main" id="{6836206C-3748-A07C-5863-C1F7C330FF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32" t="36944" r="15925"/>
            <a:stretch/>
          </p:blipFill>
          <p:spPr>
            <a:xfrm>
              <a:off x="4705350" y="1133681"/>
              <a:ext cx="3505200" cy="5724319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93FEE2-7D29-31D2-7978-0D0212DA8106}"/>
                </a:ext>
              </a:extLst>
            </p:cNvPr>
            <p:cNvSpPr/>
            <p:nvPr/>
          </p:nvSpPr>
          <p:spPr>
            <a:xfrm>
              <a:off x="5473700" y="1612900"/>
              <a:ext cx="1758950" cy="3149600"/>
            </a:xfrm>
            <a:prstGeom prst="rect">
              <a:avLst/>
            </a:prstGeom>
            <a:blipFill>
              <a:blip r:embed="rId6"/>
              <a:stretch>
                <a:fillRect l="-160260" t="-4383" r="-42186" b="1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8E9B541-0F31-B8F3-BA60-198733424BA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78525" y="1612899"/>
            <a:ext cx="1758950" cy="314959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4462338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41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483696"/>
            <a:ext cx="7265598" cy="46866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7265598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BD31EA8-F325-B80A-05FF-4389291E3FF2}"/>
              </a:ext>
            </a:extLst>
          </p:cNvPr>
          <p:cNvGrpSpPr/>
          <p:nvPr userDrawn="1"/>
        </p:nvGrpSpPr>
        <p:grpSpPr>
          <a:xfrm>
            <a:off x="7779946" y="1133681"/>
            <a:ext cx="3505200" cy="5724319"/>
            <a:chOff x="4705350" y="1133681"/>
            <a:chExt cx="3505200" cy="5724319"/>
          </a:xfrm>
        </p:grpSpPr>
        <p:pic>
          <p:nvPicPr>
            <p:cNvPr id="5" name="Picture 4" descr="A picture containing text, person, holding, hand&#10;&#10;Description automatically generated">
              <a:extLst>
                <a:ext uri="{FF2B5EF4-FFF2-40B4-BE49-F238E27FC236}">
                  <a16:creationId xmlns:a16="http://schemas.microsoft.com/office/drawing/2014/main" id="{6836206C-3748-A07C-5863-C1F7C330FF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32" t="36944" r="15925"/>
            <a:stretch/>
          </p:blipFill>
          <p:spPr>
            <a:xfrm>
              <a:off x="4705350" y="1133681"/>
              <a:ext cx="3505200" cy="5724319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93FEE2-7D29-31D2-7978-0D0212DA8106}"/>
                </a:ext>
              </a:extLst>
            </p:cNvPr>
            <p:cNvSpPr/>
            <p:nvPr/>
          </p:nvSpPr>
          <p:spPr>
            <a:xfrm>
              <a:off x="5473700" y="1612900"/>
              <a:ext cx="1758950" cy="3149600"/>
            </a:xfrm>
            <a:prstGeom prst="rect">
              <a:avLst/>
            </a:prstGeom>
            <a:blipFill>
              <a:blip r:embed="rId6"/>
              <a:stretch>
                <a:fillRect l="-160260" t="-4383" r="-42186" b="1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9DA7780E-487C-A465-ECFB-29D9E9CDA49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48296" y="1612899"/>
            <a:ext cx="1758950" cy="314959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3066935"/>
      </p:ext>
    </p:extLst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24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Logo&#10;&#10;Description automatically generated with medium confidence">
            <a:extLst>
              <a:ext uri="{FF2B5EF4-FFF2-40B4-BE49-F238E27FC236}">
                <a16:creationId xmlns:a16="http://schemas.microsoft.com/office/drawing/2014/main" id="{270F110A-BF4E-75C6-AC72-AF7E5816C3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417" t="35751" r="39688" b="21499"/>
          <a:stretch/>
        </p:blipFill>
        <p:spPr>
          <a:xfrm>
            <a:off x="4119448" y="1160653"/>
            <a:ext cx="7865820" cy="4686603"/>
          </a:xfrm>
          <a:prstGeom prst="rect">
            <a:avLst/>
          </a:prstGeom>
        </p:spPr>
      </p:pic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1E6A8143-6F08-E7F1-A9EC-A20D508E4636}"/>
              </a:ext>
            </a:extLst>
          </p:cNvPr>
          <p:cNvSpPr/>
          <p:nvPr userDrawn="1"/>
        </p:nvSpPr>
        <p:spPr>
          <a:xfrm>
            <a:off x="4895850" y="1411605"/>
            <a:ext cx="6337300" cy="4184254"/>
          </a:xfrm>
          <a:prstGeom prst="round2SameRect">
            <a:avLst>
              <a:gd name="adj1" fmla="val 3334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DF58261-8974-A132-1B69-C53B0D4F428C}"/>
              </a:ext>
            </a:extLst>
          </p:cNvPr>
          <p:cNvSpPr/>
          <p:nvPr userDrawn="1"/>
        </p:nvSpPr>
        <p:spPr>
          <a:xfrm>
            <a:off x="5029202" y="1598930"/>
            <a:ext cx="5983398" cy="3831828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7305952-FA12-1AD2-88F0-CCE65A7B6F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29203" y="1598930"/>
            <a:ext cx="6070594" cy="3831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983016-C91F-A896-0BB3-D04F51611D16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CC1FA646-41D8-2487-D53A-4D6D0CA1F0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758255"/>
            <a:ext cx="3642949" cy="4089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073F472E-6227-5FD5-A5FF-9DB7E6C329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411604"/>
            <a:ext cx="364294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22BABFAB-A453-8E98-BA16-5572F5F28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C8C41891-DF6E-9C20-4248-368FFFAB04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C06125DD-3EEB-AC42-056B-93A251C98B88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E7A5429F-841D-5E00-95F6-1F97281257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4614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6497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Single Corner Rounded 6">
            <a:extLst>
              <a:ext uri="{FF2B5EF4-FFF2-40B4-BE49-F238E27FC236}">
                <a16:creationId xmlns:a16="http://schemas.microsoft.com/office/drawing/2014/main" id="{CC14715C-17D1-F01B-6EE1-5D2B5EDD17C7}"/>
              </a:ext>
            </a:extLst>
          </p:cNvPr>
          <p:cNvSpPr/>
          <p:nvPr userDrawn="1"/>
        </p:nvSpPr>
        <p:spPr>
          <a:xfrm flipH="1">
            <a:off x="6324600" y="3581400"/>
            <a:ext cx="5856288" cy="3276600"/>
          </a:xfrm>
          <a:prstGeom prst="round1Rect">
            <a:avLst>
              <a:gd name="adj" fmla="val 331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1BB9544-E2E0-3074-F79B-44A99F8CF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6770472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8110FEE6-464A-5A14-3274-0BEE283788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98" y="225425"/>
            <a:ext cx="6770472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808D9D33-F6A7-00D0-4FA6-6474E42F44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483697"/>
            <a:ext cx="5562603" cy="4089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3E17D0B-E5BD-9DE9-A1CE-08A3C61895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8" y="1137046"/>
            <a:ext cx="5562603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pic>
        <p:nvPicPr>
          <p:cNvPr id="21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84738A6B-32EE-FC80-F4F9-5C7907A486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961" y="6237798"/>
            <a:ext cx="1016574" cy="72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7AC7B593-E9DC-C74A-EAC4-B51970A5C4CE}"/>
              </a:ext>
            </a:extLst>
          </p:cNvPr>
          <p:cNvGrpSpPr/>
          <p:nvPr userDrawn="1"/>
        </p:nvGrpSpPr>
        <p:grpSpPr>
          <a:xfrm rot="5400000" flipV="1">
            <a:off x="6676232" y="1365140"/>
            <a:ext cx="5153025" cy="5856286"/>
            <a:chOff x="5618264" y="-11928"/>
            <a:chExt cx="6573736" cy="6869928"/>
          </a:xfrm>
          <a:solidFill>
            <a:schemeClr val="bg1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8F05EF2-60D4-747F-DAE1-410E911D72BE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404275D-1011-622A-971E-1470E31A7910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56FB8CD-A2B0-9D04-D0C5-A3D1B010A50A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06D23E9-50D7-46F6-FA21-6DD96861613F}"/>
                </a:ext>
              </a:extLst>
            </p:cNvPr>
            <p:cNvSpPr/>
            <p:nvPr/>
          </p:nvSpPr>
          <p:spPr>
            <a:xfrm rot="10800000">
              <a:off x="8915965" y="686503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D836B49-D371-D678-86F4-7BAF3B9C8718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814BCD4-081B-A6FE-C74E-85ECB23793A0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BA811939-2907-A520-BACC-7D391A9FDD01}"/>
              </a:ext>
            </a:extLst>
          </p:cNvPr>
          <p:cNvSpPr/>
          <p:nvPr userDrawn="1"/>
        </p:nvSpPr>
        <p:spPr>
          <a:xfrm rot="16200000" flipV="1">
            <a:off x="7386169" y="3267005"/>
            <a:ext cx="2541222" cy="4664360"/>
          </a:xfrm>
          <a:custGeom>
            <a:avLst/>
            <a:gdLst>
              <a:gd name="connsiteX0" fmla="*/ 3006543 w 3006542"/>
              <a:gd name="connsiteY0" fmla="*/ 5754090 h 5754089"/>
              <a:gd name="connsiteX1" fmla="*/ 2998380 w 3006542"/>
              <a:gd name="connsiteY1" fmla="*/ 5754090 h 5754089"/>
              <a:gd name="connsiteX2" fmla="*/ 2998380 w 3006542"/>
              <a:gd name="connsiteY2" fmla="*/ 1652547 h 5754089"/>
              <a:gd name="connsiteX3" fmla="*/ 2604394 w 3006542"/>
              <a:gd name="connsiteY3" fmla="*/ 1258246 h 5754089"/>
              <a:gd name="connsiteX4" fmla="*/ 1481453 w 3006542"/>
              <a:gd name="connsiteY4" fmla="*/ 1258246 h 5754089"/>
              <a:gd name="connsiteX5" fmla="*/ 1078990 w 3006542"/>
              <a:gd name="connsiteY5" fmla="*/ 856097 h 5754089"/>
              <a:gd name="connsiteX6" fmla="*/ 1078990 w 3006542"/>
              <a:gd name="connsiteY6" fmla="*/ 402149 h 5754089"/>
              <a:gd name="connsiteX7" fmla="*/ 685003 w 3006542"/>
              <a:gd name="connsiteY7" fmla="*/ 7848 h 5754089"/>
              <a:gd name="connsiteX8" fmla="*/ 0 w 3006542"/>
              <a:gd name="connsiteY8" fmla="*/ 7848 h 5754089"/>
              <a:gd name="connsiteX9" fmla="*/ 0 w 3006542"/>
              <a:gd name="connsiteY9" fmla="*/ 0 h 5754089"/>
              <a:gd name="connsiteX10" fmla="*/ 685003 w 3006542"/>
              <a:gd name="connsiteY10" fmla="*/ 0 h 5754089"/>
              <a:gd name="connsiteX11" fmla="*/ 1087152 w 3006542"/>
              <a:gd name="connsiteY11" fmla="*/ 402149 h 5754089"/>
              <a:gd name="connsiteX12" fmla="*/ 1087152 w 3006542"/>
              <a:gd name="connsiteY12" fmla="*/ 856097 h 5754089"/>
              <a:gd name="connsiteX13" fmla="*/ 1481453 w 3006542"/>
              <a:gd name="connsiteY13" fmla="*/ 1250398 h 5754089"/>
              <a:gd name="connsiteX14" fmla="*/ 2604394 w 3006542"/>
              <a:gd name="connsiteY14" fmla="*/ 1250398 h 5754089"/>
              <a:gd name="connsiteX15" fmla="*/ 3006543 w 3006542"/>
              <a:gd name="connsiteY15" fmla="*/ 1652547 h 5754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006542" h="5754089">
                <a:moveTo>
                  <a:pt x="3006543" y="5754090"/>
                </a:moveTo>
                <a:lnTo>
                  <a:pt x="2998380" y="5754090"/>
                </a:lnTo>
                <a:lnTo>
                  <a:pt x="2998380" y="1652547"/>
                </a:lnTo>
                <a:cubicBezTo>
                  <a:pt x="2998380" y="1435305"/>
                  <a:pt x="2821636" y="1258246"/>
                  <a:pt x="2604394" y="1258246"/>
                </a:cubicBezTo>
                <a:lnTo>
                  <a:pt x="1481453" y="1258246"/>
                </a:lnTo>
                <a:cubicBezTo>
                  <a:pt x="1259502" y="1258246"/>
                  <a:pt x="1078990" y="1078048"/>
                  <a:pt x="1078990" y="856097"/>
                </a:cubicBezTo>
                <a:lnTo>
                  <a:pt x="1078990" y="402149"/>
                </a:lnTo>
                <a:cubicBezTo>
                  <a:pt x="1078990" y="184907"/>
                  <a:pt x="902245" y="7848"/>
                  <a:pt x="685003" y="7848"/>
                </a:cubicBezTo>
                <a:lnTo>
                  <a:pt x="0" y="7848"/>
                </a:lnTo>
                <a:lnTo>
                  <a:pt x="0" y="0"/>
                </a:lnTo>
                <a:lnTo>
                  <a:pt x="685003" y="0"/>
                </a:lnTo>
                <a:cubicBezTo>
                  <a:pt x="906640" y="0"/>
                  <a:pt x="1087152" y="180512"/>
                  <a:pt x="1087152" y="402149"/>
                </a:cubicBezTo>
                <a:lnTo>
                  <a:pt x="1087152" y="856097"/>
                </a:lnTo>
                <a:cubicBezTo>
                  <a:pt x="1087152" y="1073653"/>
                  <a:pt x="1263897" y="1250398"/>
                  <a:pt x="1481453" y="1250398"/>
                </a:cubicBezTo>
                <a:lnTo>
                  <a:pt x="2604394" y="1250398"/>
                </a:lnTo>
                <a:cubicBezTo>
                  <a:pt x="2826031" y="1250398"/>
                  <a:pt x="3006543" y="1430909"/>
                  <a:pt x="3006543" y="1652547"/>
                </a:cubicBezTo>
                <a:close/>
              </a:path>
            </a:pathLst>
          </a:custGeom>
          <a:solidFill>
            <a:schemeClr val="bg1"/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45" name="Picture 44" descr="Logo&#10;&#10;Description automatically generated with medium confidence">
            <a:extLst>
              <a:ext uri="{FF2B5EF4-FFF2-40B4-BE49-F238E27FC236}">
                <a16:creationId xmlns:a16="http://schemas.microsoft.com/office/drawing/2014/main" id="{D338C1D1-9AAB-C18D-408A-E863110E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60" t="42155" r="72008" b="21499"/>
          <a:stretch/>
        </p:blipFill>
        <p:spPr>
          <a:xfrm>
            <a:off x="6670270" y="-127000"/>
            <a:ext cx="5296245" cy="6451601"/>
          </a:xfrm>
          <a:prstGeom prst="rect">
            <a:avLst/>
          </a:prstGeom>
        </p:spPr>
      </p:pic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5D33340E-8A1E-7784-706B-B1724540AD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32468" y="418193"/>
            <a:ext cx="3694331" cy="5576207"/>
          </a:xfrm>
          <a:prstGeom prst="roundRect">
            <a:avLst>
              <a:gd name="adj" fmla="val 4260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47" name="Rectangle 5">
            <a:extLst>
              <a:ext uri="{FF2B5EF4-FFF2-40B4-BE49-F238E27FC236}">
                <a16:creationId xmlns:a16="http://schemas.microsoft.com/office/drawing/2014/main" id="{4F374501-B2A1-74D3-FA05-9D94B47A328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8" name="Foliennummernplatzhalter 3">
            <a:extLst>
              <a:ext uri="{FF2B5EF4-FFF2-40B4-BE49-F238E27FC236}">
                <a16:creationId xmlns:a16="http://schemas.microsoft.com/office/drawing/2014/main" id="{03FCEE5E-DF24-C5E2-47DC-C0DA551D96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851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D5330D33-25F1-0621-9D82-2E11CF961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473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D5330D33-25F1-0621-9D82-2E11CF961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3" name="Group 142">
            <a:extLst>
              <a:ext uri="{FF2B5EF4-FFF2-40B4-BE49-F238E27FC236}">
                <a16:creationId xmlns:a16="http://schemas.microsoft.com/office/drawing/2014/main" id="{C37569F0-1FA7-C768-45DD-29D6C624AF6B}"/>
              </a:ext>
            </a:extLst>
          </p:cNvPr>
          <p:cNvGrpSpPr/>
          <p:nvPr userDrawn="1"/>
        </p:nvGrpSpPr>
        <p:grpSpPr>
          <a:xfrm>
            <a:off x="-32728" y="8563"/>
            <a:ext cx="3162089" cy="4565639"/>
            <a:chOff x="7607475" y="8563"/>
            <a:chExt cx="3162089" cy="4565639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5655FBE5-0223-738C-98DF-6EEC9BFAF1ED}"/>
                </a:ext>
              </a:extLst>
            </p:cNvPr>
            <p:cNvGrpSpPr/>
            <p:nvPr userDrawn="1"/>
          </p:nvGrpSpPr>
          <p:grpSpPr>
            <a:xfrm>
              <a:off x="7629800" y="2232760"/>
              <a:ext cx="3139764" cy="2341442"/>
              <a:chOff x="7629800" y="2232760"/>
              <a:chExt cx="3139764" cy="2341442"/>
            </a:xfrm>
          </p:grpSpPr>
          <p:grpSp>
            <p:nvGrpSpPr>
              <p:cNvPr id="153" name="Group 152">
                <a:extLst>
                  <a:ext uri="{FF2B5EF4-FFF2-40B4-BE49-F238E27FC236}">
                    <a16:creationId xmlns:a16="http://schemas.microsoft.com/office/drawing/2014/main" id="{E02C8E91-A350-D4E8-E6A6-664320A405A0}"/>
                  </a:ext>
                </a:extLst>
              </p:cNvPr>
              <p:cNvGrpSpPr/>
              <p:nvPr userDrawn="1"/>
            </p:nvGrpSpPr>
            <p:grpSpPr>
              <a:xfrm>
                <a:off x="7629800" y="2310218"/>
                <a:ext cx="3045703" cy="2263984"/>
                <a:chOff x="7642044" y="2322588"/>
                <a:chExt cx="3045703" cy="2263984"/>
              </a:xfrm>
              <a:noFill/>
            </p:grpSpPr>
            <p:sp>
              <p:nvSpPr>
                <p:cNvPr id="156" name="Arc 155">
                  <a:extLst>
                    <a:ext uri="{FF2B5EF4-FFF2-40B4-BE49-F238E27FC236}">
                      <a16:creationId xmlns:a16="http://schemas.microsoft.com/office/drawing/2014/main" id="{0C582FF9-078B-AF58-A9B2-55E13A5EC23B}"/>
                    </a:ext>
                  </a:extLst>
                </p:cNvPr>
                <p:cNvSpPr/>
                <p:nvPr userDrawn="1"/>
              </p:nvSpPr>
              <p:spPr>
                <a:xfrm rot="16200000">
                  <a:off x="7642044" y="2323885"/>
                  <a:ext cx="2262687" cy="2262687"/>
                </a:xfrm>
                <a:prstGeom prst="arc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57" name="Straight Connector 156">
                  <a:extLst>
                    <a:ext uri="{FF2B5EF4-FFF2-40B4-BE49-F238E27FC236}">
                      <a16:creationId xmlns:a16="http://schemas.microsoft.com/office/drawing/2014/main" id="{05DAA92C-0144-3045-5672-95EEFB5419D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8757578" y="2322588"/>
                  <a:ext cx="1930169" cy="0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D80F987A-1CCD-7AC7-0DD8-6F7E22BEF974}"/>
                  </a:ext>
                </a:extLst>
              </p:cNvPr>
              <p:cNvSpPr/>
              <p:nvPr userDrawn="1"/>
            </p:nvSpPr>
            <p:spPr>
              <a:xfrm>
                <a:off x="10614649" y="2232760"/>
                <a:ext cx="154915" cy="154915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50EB7C85-87EB-163B-9D22-B14550109DE7}"/>
                </a:ext>
              </a:extLst>
            </p:cNvPr>
            <p:cNvGrpSpPr/>
            <p:nvPr userDrawn="1"/>
          </p:nvGrpSpPr>
          <p:grpSpPr>
            <a:xfrm rot="10800000">
              <a:off x="7607475" y="8563"/>
              <a:ext cx="2266671" cy="4541762"/>
              <a:chOff x="7638060" y="2316238"/>
              <a:chExt cx="2266671" cy="4541762"/>
            </a:xfrm>
            <a:noFill/>
          </p:grpSpPr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97719DE-932F-F522-6081-38B9738C39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7638060" y="3432378"/>
                <a:ext cx="0" cy="3425622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Arc 150">
                <a:extLst>
                  <a:ext uri="{FF2B5EF4-FFF2-40B4-BE49-F238E27FC236}">
                    <a16:creationId xmlns:a16="http://schemas.microsoft.com/office/drawing/2014/main" id="{8EF75795-E292-8543-9333-1F7CEF2098F1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F961B657-1105-EF2A-DEB2-3DA41235EF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8757579" y="2316238"/>
                <a:ext cx="1124828" cy="0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C83685D-A2C0-3C3E-4F02-424A988730C6}"/>
              </a:ext>
            </a:extLst>
          </p:cNvPr>
          <p:cNvSpPr/>
          <p:nvPr/>
        </p:nvSpPr>
        <p:spPr>
          <a:xfrm rot="10800000">
            <a:off x="9965664" y="0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959B485-73AB-CB74-27D3-F0D28A9FEFDE}"/>
              </a:ext>
            </a:extLst>
          </p:cNvPr>
          <p:cNvSpPr/>
          <p:nvPr/>
        </p:nvSpPr>
        <p:spPr>
          <a:xfrm rot="10800000">
            <a:off x="9965662" y="4631665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249B4-7789-44E0-AFE4-476C83B11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54806" y="2773354"/>
            <a:ext cx="6982680" cy="1429658"/>
          </a:xfrm>
        </p:spPr>
        <p:txBody>
          <a:bodyPr vert="horz" anchor="ctr"/>
          <a:lstStyle>
            <a:lvl1pPr>
              <a:defRPr sz="4000"/>
            </a:lvl1pPr>
          </a:lstStyle>
          <a:p>
            <a:r>
              <a:rPr lang="en-US"/>
              <a:t>Divider Title</a:t>
            </a:r>
            <a:endParaRPr lang="en-GB"/>
          </a:p>
        </p:txBody>
      </p:sp>
      <p:sp>
        <p:nvSpPr>
          <p:cNvPr id="140" name="Picture Placeholder 10">
            <a:extLst>
              <a:ext uri="{FF2B5EF4-FFF2-40B4-BE49-F238E27FC236}">
                <a16:creationId xmlns:a16="http://schemas.microsoft.com/office/drawing/2014/main" id="{C0C2248F-B7C7-F5D8-41EA-82F20185FF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46775" y="-1"/>
            <a:ext cx="4545225" cy="4542167"/>
          </a:xfrm>
          <a:custGeom>
            <a:avLst/>
            <a:gdLst>
              <a:gd name="connsiteX0" fmla="*/ 2318888 w 4545225"/>
              <a:gd name="connsiteY0" fmla="*/ 2315832 h 4542167"/>
              <a:gd name="connsiteX1" fmla="*/ 3432057 w 4545225"/>
              <a:gd name="connsiteY1" fmla="*/ 2315832 h 4542167"/>
              <a:gd name="connsiteX2" fmla="*/ 4545225 w 4545225"/>
              <a:gd name="connsiteY2" fmla="*/ 3429000 h 4542167"/>
              <a:gd name="connsiteX3" fmla="*/ 4545224 w 4545225"/>
              <a:gd name="connsiteY3" fmla="*/ 4542167 h 4542167"/>
              <a:gd name="connsiteX4" fmla="*/ 3432056 w 4545225"/>
              <a:gd name="connsiteY4" fmla="*/ 4542167 h 4542167"/>
              <a:gd name="connsiteX5" fmla="*/ 2318888 w 4545225"/>
              <a:gd name="connsiteY5" fmla="*/ 3428999 h 4542167"/>
              <a:gd name="connsiteX6" fmla="*/ 0 w 4545225"/>
              <a:gd name="connsiteY6" fmla="*/ 0 h 4542167"/>
              <a:gd name="connsiteX7" fmla="*/ 1113169 w 4545225"/>
              <a:gd name="connsiteY7" fmla="*/ 0 h 4542167"/>
              <a:gd name="connsiteX8" fmla="*/ 2226337 w 4545225"/>
              <a:gd name="connsiteY8" fmla="*/ 1113168 h 4542167"/>
              <a:gd name="connsiteX9" fmla="*/ 2226336 w 4545225"/>
              <a:gd name="connsiteY9" fmla="*/ 2226335 h 4542167"/>
              <a:gd name="connsiteX10" fmla="*/ 1113168 w 4545225"/>
              <a:gd name="connsiteY10" fmla="*/ 2226335 h 4542167"/>
              <a:gd name="connsiteX11" fmla="*/ 0 w 4545225"/>
              <a:gd name="connsiteY11" fmla="*/ 1113167 h 4542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45225" h="4542167">
                <a:moveTo>
                  <a:pt x="2318888" y="2315832"/>
                </a:moveTo>
                <a:lnTo>
                  <a:pt x="3432057" y="2315832"/>
                </a:lnTo>
                <a:cubicBezTo>
                  <a:pt x="4046843" y="2315832"/>
                  <a:pt x="4545225" y="2814214"/>
                  <a:pt x="4545225" y="3429000"/>
                </a:cubicBezTo>
                <a:cubicBezTo>
                  <a:pt x="4545225" y="3800056"/>
                  <a:pt x="4545224" y="4171111"/>
                  <a:pt x="4545224" y="4542167"/>
                </a:cubicBezTo>
                <a:lnTo>
                  <a:pt x="3432056" y="4542167"/>
                </a:lnTo>
                <a:cubicBezTo>
                  <a:pt x="2817270" y="4542167"/>
                  <a:pt x="2318888" y="4043785"/>
                  <a:pt x="2318888" y="3428999"/>
                </a:cubicBezTo>
                <a:close/>
                <a:moveTo>
                  <a:pt x="0" y="0"/>
                </a:moveTo>
                <a:lnTo>
                  <a:pt x="1113169" y="0"/>
                </a:lnTo>
                <a:cubicBezTo>
                  <a:pt x="1727955" y="0"/>
                  <a:pt x="2226337" y="498382"/>
                  <a:pt x="2226337" y="1113168"/>
                </a:cubicBezTo>
                <a:cubicBezTo>
                  <a:pt x="2226337" y="1484224"/>
                  <a:pt x="2226336" y="1855279"/>
                  <a:pt x="2226336" y="2226335"/>
                </a:cubicBezTo>
                <a:lnTo>
                  <a:pt x="1113168" y="2226335"/>
                </a:lnTo>
                <a:cubicBezTo>
                  <a:pt x="498382" y="2226335"/>
                  <a:pt x="0" y="1727953"/>
                  <a:pt x="0" y="1113167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6401CCD5-C059-7C06-467D-0B23343BECDB}"/>
              </a:ext>
            </a:extLst>
          </p:cNvPr>
          <p:cNvGrpSpPr/>
          <p:nvPr userDrawn="1"/>
        </p:nvGrpSpPr>
        <p:grpSpPr>
          <a:xfrm>
            <a:off x="3877833" y="-35176"/>
            <a:ext cx="8314167" cy="6912226"/>
            <a:chOff x="3877833" y="-35176"/>
            <a:chExt cx="8314167" cy="6912226"/>
          </a:xfrm>
        </p:grpSpPr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724B5671-3A7E-E371-4418-4271A68EA70A}"/>
                </a:ext>
              </a:extLst>
            </p:cNvPr>
            <p:cNvSpPr/>
            <p:nvPr userDrawn="1"/>
          </p:nvSpPr>
          <p:spPr>
            <a:xfrm rot="10800000">
              <a:off x="5201830" y="1049111"/>
              <a:ext cx="6990170" cy="2341244"/>
            </a:xfrm>
            <a:custGeom>
              <a:avLst/>
              <a:gdLst>
                <a:gd name="connsiteX0" fmla="*/ 4770936 w 4770935"/>
                <a:gd name="connsiteY0" fmla="*/ 1597947 h 1597947"/>
                <a:gd name="connsiteX1" fmla="*/ 3128550 w 4770935"/>
                <a:gd name="connsiteY1" fmla="*/ 1597947 h 1597947"/>
                <a:gd name="connsiteX2" fmla="*/ 2920331 w 4770935"/>
                <a:gd name="connsiteY2" fmla="*/ 1511361 h 1597947"/>
                <a:gd name="connsiteX3" fmla="*/ 2835120 w 4770935"/>
                <a:gd name="connsiteY3" fmla="*/ 1302455 h 1597947"/>
                <a:gd name="connsiteX4" fmla="*/ 2842450 w 4770935"/>
                <a:gd name="connsiteY4" fmla="*/ 295492 h 1597947"/>
                <a:gd name="connsiteX5" fmla="*/ 2758841 w 4770935"/>
                <a:gd name="connsiteY5" fmla="*/ 90709 h 1597947"/>
                <a:gd name="connsiteX6" fmla="*/ 2554746 w 4770935"/>
                <a:gd name="connsiteY6" fmla="*/ 5727 h 1597947"/>
                <a:gd name="connsiteX7" fmla="*/ 950843 w 4770935"/>
                <a:gd name="connsiteY7" fmla="*/ 5727 h 1597947"/>
                <a:gd name="connsiteX8" fmla="*/ 663368 w 4770935"/>
                <a:gd name="connsiteY8" fmla="*/ 291369 h 1597947"/>
                <a:gd name="connsiteX9" fmla="*/ 661536 w 4770935"/>
                <a:gd name="connsiteY9" fmla="*/ 516997 h 1597947"/>
                <a:gd name="connsiteX10" fmla="*/ 1324904 w 4770935"/>
                <a:gd name="connsiteY10" fmla="*/ 516997 h 1597947"/>
                <a:gd name="connsiteX11" fmla="*/ 1618334 w 4770935"/>
                <a:gd name="connsiteY11" fmla="*/ 810656 h 1597947"/>
                <a:gd name="connsiteX12" fmla="*/ 1618334 w 4770935"/>
                <a:gd name="connsiteY12" fmla="*/ 1304517 h 1597947"/>
                <a:gd name="connsiteX13" fmla="*/ 1324904 w 4770935"/>
                <a:gd name="connsiteY13" fmla="*/ 1597947 h 1597947"/>
                <a:gd name="connsiteX14" fmla="*/ 943513 w 4770935"/>
                <a:gd name="connsiteY14" fmla="*/ 1597947 h 1597947"/>
                <a:gd name="connsiteX15" fmla="*/ 735294 w 4770935"/>
                <a:gd name="connsiteY15" fmla="*/ 1511361 h 1597947"/>
                <a:gd name="connsiteX16" fmla="*/ 650082 w 4770935"/>
                <a:gd name="connsiteY16" fmla="*/ 1302455 h 1597947"/>
                <a:gd name="connsiteX17" fmla="*/ 655809 w 4770935"/>
                <a:gd name="connsiteY17" fmla="*/ 522952 h 1597947"/>
                <a:gd name="connsiteX18" fmla="*/ 0 w 4770935"/>
                <a:gd name="connsiteY18" fmla="*/ 522952 h 1597947"/>
                <a:gd name="connsiteX19" fmla="*/ 0 w 4770935"/>
                <a:gd name="connsiteY19" fmla="*/ 516997 h 1597947"/>
                <a:gd name="connsiteX20" fmla="*/ 655809 w 4770935"/>
                <a:gd name="connsiteY20" fmla="*/ 516997 h 1597947"/>
                <a:gd name="connsiteX21" fmla="*/ 657412 w 4770935"/>
                <a:gd name="connsiteY21" fmla="*/ 291140 h 1597947"/>
                <a:gd name="connsiteX22" fmla="*/ 950843 w 4770935"/>
                <a:gd name="connsiteY22" fmla="*/ 0 h 1597947"/>
                <a:gd name="connsiteX23" fmla="*/ 2554746 w 4770935"/>
                <a:gd name="connsiteY23" fmla="*/ 0 h 1597947"/>
                <a:gd name="connsiteX24" fmla="*/ 2762965 w 4770935"/>
                <a:gd name="connsiteY24" fmla="*/ 86586 h 1597947"/>
                <a:gd name="connsiteX25" fmla="*/ 2848176 w 4770935"/>
                <a:gd name="connsiteY25" fmla="*/ 295492 h 1597947"/>
                <a:gd name="connsiteX26" fmla="*/ 2840846 w 4770935"/>
                <a:gd name="connsiteY26" fmla="*/ 1302455 h 1597947"/>
                <a:gd name="connsiteX27" fmla="*/ 2924454 w 4770935"/>
                <a:gd name="connsiteY27" fmla="*/ 1507238 h 1597947"/>
                <a:gd name="connsiteX28" fmla="*/ 3128550 w 4770935"/>
                <a:gd name="connsiteY28" fmla="*/ 1592221 h 1597947"/>
                <a:gd name="connsiteX29" fmla="*/ 4770936 w 4770935"/>
                <a:gd name="connsiteY29" fmla="*/ 1592221 h 1597947"/>
                <a:gd name="connsiteX30" fmla="*/ 661536 w 4770935"/>
                <a:gd name="connsiteY30" fmla="*/ 522723 h 1597947"/>
                <a:gd name="connsiteX31" fmla="*/ 655809 w 4770935"/>
                <a:gd name="connsiteY31" fmla="*/ 1302226 h 1597947"/>
                <a:gd name="connsiteX32" fmla="*/ 739417 w 4770935"/>
                <a:gd name="connsiteY32" fmla="*/ 1507009 h 1597947"/>
                <a:gd name="connsiteX33" fmla="*/ 943513 w 4770935"/>
                <a:gd name="connsiteY33" fmla="*/ 1591992 h 1597947"/>
                <a:gd name="connsiteX34" fmla="*/ 1324904 w 4770935"/>
                <a:gd name="connsiteY34" fmla="*/ 1591992 h 1597947"/>
                <a:gd name="connsiteX35" fmla="*/ 1612607 w 4770935"/>
                <a:gd name="connsiteY35" fmla="*/ 1304517 h 1597947"/>
                <a:gd name="connsiteX36" fmla="*/ 1612607 w 4770935"/>
                <a:gd name="connsiteY36" fmla="*/ 810427 h 1597947"/>
                <a:gd name="connsiteX37" fmla="*/ 1324904 w 4770935"/>
                <a:gd name="connsiteY37" fmla="*/ 522723 h 159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70935" h="1597947">
                  <a:moveTo>
                    <a:pt x="4770936" y="1597947"/>
                  </a:moveTo>
                  <a:lnTo>
                    <a:pt x="3128550" y="1597947"/>
                  </a:lnTo>
                  <a:cubicBezTo>
                    <a:pt x="3049752" y="1597947"/>
                    <a:pt x="2975765" y="1567253"/>
                    <a:pt x="2920331" y="1511361"/>
                  </a:cubicBezTo>
                  <a:cubicBezTo>
                    <a:pt x="2864669" y="1455470"/>
                    <a:pt x="2834432" y="1381253"/>
                    <a:pt x="2835120" y="1302455"/>
                  </a:cubicBezTo>
                  <a:lnTo>
                    <a:pt x="2842450" y="295492"/>
                  </a:lnTo>
                  <a:cubicBezTo>
                    <a:pt x="2842908" y="218298"/>
                    <a:pt x="2813359" y="145455"/>
                    <a:pt x="2758841" y="90709"/>
                  </a:cubicBezTo>
                  <a:cubicBezTo>
                    <a:pt x="2704553" y="35963"/>
                    <a:pt x="2631940" y="5727"/>
                    <a:pt x="2554746" y="5727"/>
                  </a:cubicBezTo>
                  <a:lnTo>
                    <a:pt x="950843" y="5727"/>
                  </a:lnTo>
                  <a:cubicBezTo>
                    <a:pt x="793476" y="5727"/>
                    <a:pt x="664513" y="133773"/>
                    <a:pt x="663368" y="291369"/>
                  </a:cubicBezTo>
                  <a:lnTo>
                    <a:pt x="661536" y="516997"/>
                  </a:lnTo>
                  <a:lnTo>
                    <a:pt x="1324904" y="516997"/>
                  </a:lnTo>
                  <a:cubicBezTo>
                    <a:pt x="1486851" y="516997"/>
                    <a:pt x="1618334" y="648708"/>
                    <a:pt x="1618334" y="810656"/>
                  </a:cubicBezTo>
                  <a:lnTo>
                    <a:pt x="1618334" y="1304517"/>
                  </a:lnTo>
                  <a:cubicBezTo>
                    <a:pt x="1618334" y="1466236"/>
                    <a:pt x="1486851" y="1597947"/>
                    <a:pt x="1324904" y="1597947"/>
                  </a:cubicBezTo>
                  <a:lnTo>
                    <a:pt x="943513" y="1597947"/>
                  </a:lnTo>
                  <a:cubicBezTo>
                    <a:pt x="864715" y="1597947"/>
                    <a:pt x="790727" y="1567253"/>
                    <a:pt x="735294" y="1511361"/>
                  </a:cubicBezTo>
                  <a:cubicBezTo>
                    <a:pt x="679861" y="1455470"/>
                    <a:pt x="649395" y="1381253"/>
                    <a:pt x="650082" y="1302455"/>
                  </a:cubicBezTo>
                  <a:lnTo>
                    <a:pt x="655809" y="522952"/>
                  </a:lnTo>
                  <a:lnTo>
                    <a:pt x="0" y="522952"/>
                  </a:lnTo>
                  <a:lnTo>
                    <a:pt x="0" y="516997"/>
                  </a:lnTo>
                  <a:lnTo>
                    <a:pt x="655809" y="516997"/>
                  </a:lnTo>
                  <a:lnTo>
                    <a:pt x="657412" y="291140"/>
                  </a:lnTo>
                  <a:cubicBezTo>
                    <a:pt x="658558" y="130566"/>
                    <a:pt x="790269" y="0"/>
                    <a:pt x="950843" y="0"/>
                  </a:cubicBezTo>
                  <a:lnTo>
                    <a:pt x="2554746" y="0"/>
                  </a:lnTo>
                  <a:cubicBezTo>
                    <a:pt x="2633544" y="0"/>
                    <a:pt x="2707531" y="30695"/>
                    <a:pt x="2762965" y="86586"/>
                  </a:cubicBezTo>
                  <a:cubicBezTo>
                    <a:pt x="2818627" y="142478"/>
                    <a:pt x="2848863" y="216694"/>
                    <a:pt x="2848176" y="295492"/>
                  </a:cubicBezTo>
                  <a:lnTo>
                    <a:pt x="2840846" y="1302455"/>
                  </a:lnTo>
                  <a:cubicBezTo>
                    <a:pt x="2840388" y="1379650"/>
                    <a:pt x="2869937" y="1452263"/>
                    <a:pt x="2924454" y="1507238"/>
                  </a:cubicBezTo>
                  <a:cubicBezTo>
                    <a:pt x="2978742" y="1561984"/>
                    <a:pt x="3051356" y="1592221"/>
                    <a:pt x="3128550" y="1592221"/>
                  </a:cubicBezTo>
                  <a:lnTo>
                    <a:pt x="4770936" y="1592221"/>
                  </a:lnTo>
                  <a:close/>
                  <a:moveTo>
                    <a:pt x="661536" y="522723"/>
                  </a:moveTo>
                  <a:lnTo>
                    <a:pt x="655809" y="1302226"/>
                  </a:lnTo>
                  <a:cubicBezTo>
                    <a:pt x="655351" y="1379650"/>
                    <a:pt x="684900" y="1452263"/>
                    <a:pt x="739417" y="1507009"/>
                  </a:cubicBezTo>
                  <a:cubicBezTo>
                    <a:pt x="793705" y="1561984"/>
                    <a:pt x="866318" y="1591992"/>
                    <a:pt x="943513" y="1591992"/>
                  </a:cubicBezTo>
                  <a:lnTo>
                    <a:pt x="1324904" y="1591992"/>
                  </a:lnTo>
                  <a:cubicBezTo>
                    <a:pt x="1483645" y="1591992"/>
                    <a:pt x="1612607" y="1463029"/>
                    <a:pt x="1612607" y="1304517"/>
                  </a:cubicBezTo>
                  <a:lnTo>
                    <a:pt x="1612607" y="810427"/>
                  </a:lnTo>
                  <a:cubicBezTo>
                    <a:pt x="1612607" y="651915"/>
                    <a:pt x="1483645" y="522723"/>
                    <a:pt x="1324904" y="522723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5D556E27-38E6-303C-2E6E-5B400B68130A}"/>
                </a:ext>
              </a:extLst>
            </p:cNvPr>
            <p:cNvSpPr/>
            <p:nvPr userDrawn="1"/>
          </p:nvSpPr>
          <p:spPr>
            <a:xfrm rot="10800000">
              <a:off x="8977824" y="65762"/>
              <a:ext cx="3214176" cy="6151470"/>
            </a:xfrm>
            <a:custGeom>
              <a:avLst/>
              <a:gdLst>
                <a:gd name="connsiteX0" fmla="*/ 2193742 w 2193741"/>
                <a:gd name="connsiteY0" fmla="*/ 4198506 h 4198505"/>
                <a:gd name="connsiteX1" fmla="*/ 2187786 w 2193741"/>
                <a:gd name="connsiteY1" fmla="*/ 4198506 h 4198505"/>
                <a:gd name="connsiteX2" fmla="*/ 2187786 w 2193741"/>
                <a:gd name="connsiteY2" fmla="*/ 1205791 h 4198505"/>
                <a:gd name="connsiteX3" fmla="*/ 1900311 w 2193741"/>
                <a:gd name="connsiteY3" fmla="*/ 918087 h 4198505"/>
                <a:gd name="connsiteX4" fmla="*/ 1080951 w 2193741"/>
                <a:gd name="connsiteY4" fmla="*/ 918087 h 4198505"/>
                <a:gd name="connsiteX5" fmla="*/ 787291 w 2193741"/>
                <a:gd name="connsiteY5" fmla="*/ 624656 h 4198505"/>
                <a:gd name="connsiteX6" fmla="*/ 787291 w 2193741"/>
                <a:gd name="connsiteY6" fmla="*/ 293430 h 4198505"/>
                <a:gd name="connsiteX7" fmla="*/ 499817 w 2193741"/>
                <a:gd name="connsiteY7" fmla="*/ 5727 h 4198505"/>
                <a:gd name="connsiteX8" fmla="*/ 0 w 2193741"/>
                <a:gd name="connsiteY8" fmla="*/ 5727 h 4198505"/>
                <a:gd name="connsiteX9" fmla="*/ 0 w 2193741"/>
                <a:gd name="connsiteY9" fmla="*/ 0 h 4198505"/>
                <a:gd name="connsiteX10" fmla="*/ 499817 w 2193741"/>
                <a:gd name="connsiteY10" fmla="*/ 0 h 4198505"/>
                <a:gd name="connsiteX11" fmla="*/ 793247 w 2193741"/>
                <a:gd name="connsiteY11" fmla="*/ 293430 h 4198505"/>
                <a:gd name="connsiteX12" fmla="*/ 793247 w 2193741"/>
                <a:gd name="connsiteY12" fmla="*/ 624656 h 4198505"/>
                <a:gd name="connsiteX13" fmla="*/ 1080951 w 2193741"/>
                <a:gd name="connsiteY13" fmla="*/ 912360 h 4198505"/>
                <a:gd name="connsiteX14" fmla="*/ 1900311 w 2193741"/>
                <a:gd name="connsiteY14" fmla="*/ 912360 h 4198505"/>
                <a:gd name="connsiteX15" fmla="*/ 2193742 w 2193741"/>
                <a:gd name="connsiteY15" fmla="*/ 1205791 h 4198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3741" h="4198505">
                  <a:moveTo>
                    <a:pt x="2193742" y="4198506"/>
                  </a:moveTo>
                  <a:lnTo>
                    <a:pt x="2187786" y="4198506"/>
                  </a:lnTo>
                  <a:lnTo>
                    <a:pt x="2187786" y="1205791"/>
                  </a:lnTo>
                  <a:cubicBezTo>
                    <a:pt x="2187786" y="1047279"/>
                    <a:pt x="2058823" y="918087"/>
                    <a:pt x="1900311" y="918087"/>
                  </a:cubicBezTo>
                  <a:lnTo>
                    <a:pt x="1080951" y="918087"/>
                  </a:lnTo>
                  <a:cubicBezTo>
                    <a:pt x="919003" y="918087"/>
                    <a:pt x="787291" y="786604"/>
                    <a:pt x="787291" y="624656"/>
                  </a:cubicBezTo>
                  <a:lnTo>
                    <a:pt x="787291" y="293430"/>
                  </a:lnTo>
                  <a:cubicBezTo>
                    <a:pt x="787291" y="134918"/>
                    <a:pt x="658329" y="5727"/>
                    <a:pt x="499817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499817" y="0"/>
                  </a:lnTo>
                  <a:cubicBezTo>
                    <a:pt x="661536" y="0"/>
                    <a:pt x="793247" y="131712"/>
                    <a:pt x="793247" y="293430"/>
                  </a:cubicBezTo>
                  <a:lnTo>
                    <a:pt x="793247" y="624656"/>
                  </a:lnTo>
                  <a:cubicBezTo>
                    <a:pt x="793247" y="783397"/>
                    <a:pt x="922210" y="912360"/>
                    <a:pt x="1080951" y="912360"/>
                  </a:cubicBezTo>
                  <a:lnTo>
                    <a:pt x="1900311" y="912360"/>
                  </a:lnTo>
                  <a:cubicBezTo>
                    <a:pt x="2062030" y="912360"/>
                    <a:pt x="2193742" y="1044072"/>
                    <a:pt x="2193742" y="120579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1966BB24-2927-BDD6-B04C-FAE998DC10C5}"/>
                </a:ext>
              </a:extLst>
            </p:cNvPr>
            <p:cNvSpPr/>
            <p:nvPr userDrawn="1"/>
          </p:nvSpPr>
          <p:spPr>
            <a:xfrm rot="10800000">
              <a:off x="9139591" y="5527546"/>
              <a:ext cx="3052409" cy="1349504"/>
            </a:xfrm>
            <a:custGeom>
              <a:avLst/>
              <a:gdLst>
                <a:gd name="connsiteX0" fmla="*/ 1789903 w 2083332"/>
                <a:gd name="connsiteY0" fmla="*/ 921065 h 921064"/>
                <a:gd name="connsiteX1" fmla="*/ 0 w 2083332"/>
                <a:gd name="connsiteY1" fmla="*/ 921065 h 921064"/>
                <a:gd name="connsiteX2" fmla="*/ 0 w 2083332"/>
                <a:gd name="connsiteY2" fmla="*/ 915338 h 921064"/>
                <a:gd name="connsiteX3" fmla="*/ 1789903 w 2083332"/>
                <a:gd name="connsiteY3" fmla="*/ 915338 h 921064"/>
                <a:gd name="connsiteX4" fmla="*/ 2077377 w 2083332"/>
                <a:gd name="connsiteY4" fmla="*/ 627634 h 921064"/>
                <a:gd name="connsiteX5" fmla="*/ 2077377 w 2083332"/>
                <a:gd name="connsiteY5" fmla="*/ 0 h 921064"/>
                <a:gd name="connsiteX6" fmla="*/ 2083333 w 2083332"/>
                <a:gd name="connsiteY6" fmla="*/ 0 h 921064"/>
                <a:gd name="connsiteX7" fmla="*/ 2083333 w 2083332"/>
                <a:gd name="connsiteY7" fmla="*/ 627634 h 921064"/>
                <a:gd name="connsiteX8" fmla="*/ 1789903 w 2083332"/>
                <a:gd name="connsiteY8" fmla="*/ 921065 h 92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3332" h="921064">
                  <a:moveTo>
                    <a:pt x="1789903" y="921065"/>
                  </a:moveTo>
                  <a:lnTo>
                    <a:pt x="0" y="921065"/>
                  </a:lnTo>
                  <a:lnTo>
                    <a:pt x="0" y="915338"/>
                  </a:lnTo>
                  <a:lnTo>
                    <a:pt x="1789903" y="915338"/>
                  </a:lnTo>
                  <a:cubicBezTo>
                    <a:pt x="1948415" y="915338"/>
                    <a:pt x="2077377" y="786146"/>
                    <a:pt x="2077377" y="627634"/>
                  </a:cubicBezTo>
                  <a:lnTo>
                    <a:pt x="2077377" y="0"/>
                  </a:lnTo>
                  <a:lnTo>
                    <a:pt x="2083333" y="0"/>
                  </a:lnTo>
                  <a:lnTo>
                    <a:pt x="2083333" y="627634"/>
                  </a:lnTo>
                  <a:cubicBezTo>
                    <a:pt x="2083333" y="789353"/>
                    <a:pt x="1951621" y="921065"/>
                    <a:pt x="1789903" y="92106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BA0E38E6-FF41-458B-00E9-EAFBF6EE8969}"/>
                </a:ext>
              </a:extLst>
            </p:cNvPr>
            <p:cNvSpPr/>
            <p:nvPr userDrawn="1"/>
          </p:nvSpPr>
          <p:spPr>
            <a:xfrm rot="10800000">
              <a:off x="10510574" y="65762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B978451C-381C-0469-78DA-A6C288A21C52}"/>
                </a:ext>
              </a:extLst>
            </p:cNvPr>
            <p:cNvSpPr/>
            <p:nvPr userDrawn="1"/>
          </p:nvSpPr>
          <p:spPr>
            <a:xfrm rot="10800000">
              <a:off x="9829801" y="4115481"/>
              <a:ext cx="2362199" cy="10800"/>
            </a:xfrm>
            <a:custGeom>
              <a:avLst/>
              <a:gdLst>
                <a:gd name="connsiteX0" fmla="*/ 1388812 w 1388812"/>
                <a:gd name="connsiteY0" fmla="*/ 5727 h 5726"/>
                <a:gd name="connsiteX1" fmla="*/ 0 w 1388812"/>
                <a:gd name="connsiteY1" fmla="*/ 5727 h 5726"/>
                <a:gd name="connsiteX2" fmla="*/ 0 w 1388812"/>
                <a:gd name="connsiteY2" fmla="*/ 0 h 5726"/>
                <a:gd name="connsiteX3" fmla="*/ 1388812 w 1388812"/>
                <a:gd name="connsiteY3" fmla="*/ 0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812" h="5726">
                  <a:moveTo>
                    <a:pt x="1388812" y="5727"/>
                  </a:moveTo>
                  <a:lnTo>
                    <a:pt x="0" y="5727"/>
                  </a:lnTo>
                  <a:lnTo>
                    <a:pt x="0" y="0"/>
                  </a:lnTo>
                  <a:lnTo>
                    <a:pt x="138881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4ABE9B86-CECE-BED3-6477-7BA865FF1CB0}"/>
                </a:ext>
              </a:extLst>
            </p:cNvPr>
            <p:cNvSpPr/>
            <p:nvPr userDrawn="1"/>
          </p:nvSpPr>
          <p:spPr>
            <a:xfrm rot="10800000">
              <a:off x="10476342" y="597709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FB084953-4721-0852-82B1-ED400091AD04}"/>
                </a:ext>
              </a:extLst>
            </p:cNvPr>
            <p:cNvGrpSpPr/>
            <p:nvPr userDrawn="1"/>
          </p:nvGrpSpPr>
          <p:grpSpPr>
            <a:xfrm rot="10800000">
              <a:off x="4516507" y="4335446"/>
              <a:ext cx="5542665" cy="2541604"/>
              <a:chOff x="14458144" y="2217630"/>
              <a:chExt cx="3782983" cy="1734697"/>
            </a:xfrm>
            <a:solidFill>
              <a:schemeClr val="accent6">
                <a:lumMod val="60000"/>
                <a:lumOff val="40000"/>
                <a:alpha val="66000"/>
              </a:schemeClr>
            </a:solidFill>
          </p:grpSpPr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43ED3B2A-C0F7-E688-5352-CD79B9B69061}"/>
                  </a:ext>
                </a:extLst>
              </p:cNvPr>
              <p:cNvSpPr/>
              <p:nvPr/>
            </p:nvSpPr>
            <p:spPr>
              <a:xfrm>
                <a:off x="14458144" y="2217630"/>
                <a:ext cx="2954919" cy="1693924"/>
              </a:xfrm>
              <a:custGeom>
                <a:avLst/>
                <a:gdLst>
                  <a:gd name="connsiteX0" fmla="*/ 2954920 w 2954919"/>
                  <a:gd name="connsiteY0" fmla="*/ 1693925 h 1693924"/>
                  <a:gd name="connsiteX1" fmla="*/ 1897333 w 2954919"/>
                  <a:gd name="connsiteY1" fmla="*/ 1693925 h 1693924"/>
                  <a:gd name="connsiteX2" fmla="*/ 1603903 w 2954919"/>
                  <a:gd name="connsiteY2" fmla="*/ 1400495 h 1693924"/>
                  <a:gd name="connsiteX3" fmla="*/ 1603903 w 2954919"/>
                  <a:gd name="connsiteY3" fmla="*/ 836769 h 1693924"/>
                  <a:gd name="connsiteX4" fmla="*/ 1316199 w 2954919"/>
                  <a:gd name="connsiteY4" fmla="*/ 549065 h 1693924"/>
                  <a:gd name="connsiteX5" fmla="*/ 293430 w 2954919"/>
                  <a:gd name="connsiteY5" fmla="*/ 549065 h 1693924"/>
                  <a:gd name="connsiteX6" fmla="*/ 0 w 2954919"/>
                  <a:gd name="connsiteY6" fmla="*/ 255635 h 1693924"/>
                  <a:gd name="connsiteX7" fmla="*/ 0 w 2954919"/>
                  <a:gd name="connsiteY7" fmla="*/ 0 h 1693924"/>
                  <a:gd name="connsiteX8" fmla="*/ 5727 w 2954919"/>
                  <a:gd name="connsiteY8" fmla="*/ 0 h 1693924"/>
                  <a:gd name="connsiteX9" fmla="*/ 5727 w 2954919"/>
                  <a:gd name="connsiteY9" fmla="*/ 255635 h 1693924"/>
                  <a:gd name="connsiteX10" fmla="*/ 293430 w 2954919"/>
                  <a:gd name="connsiteY10" fmla="*/ 543339 h 1693924"/>
                  <a:gd name="connsiteX11" fmla="*/ 1316199 w 2954919"/>
                  <a:gd name="connsiteY11" fmla="*/ 543339 h 1693924"/>
                  <a:gd name="connsiteX12" fmla="*/ 1609630 w 2954919"/>
                  <a:gd name="connsiteY12" fmla="*/ 836769 h 1693924"/>
                  <a:gd name="connsiteX13" fmla="*/ 1609630 w 2954919"/>
                  <a:gd name="connsiteY13" fmla="*/ 1400495 h 1693924"/>
                  <a:gd name="connsiteX14" fmla="*/ 1897333 w 2954919"/>
                  <a:gd name="connsiteY14" fmla="*/ 1688198 h 1693924"/>
                  <a:gd name="connsiteX15" fmla="*/ 2954920 w 2954919"/>
                  <a:gd name="connsiteY15" fmla="*/ 1688198 h 169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54919" h="1693924">
                    <a:moveTo>
                      <a:pt x="2954920" y="1693925"/>
                    </a:moveTo>
                    <a:lnTo>
                      <a:pt x="1897333" y="1693925"/>
                    </a:lnTo>
                    <a:cubicBezTo>
                      <a:pt x="1735615" y="1693925"/>
                      <a:pt x="1603903" y="1562214"/>
                      <a:pt x="1603903" y="1400495"/>
                    </a:cubicBezTo>
                    <a:lnTo>
                      <a:pt x="1603903" y="836769"/>
                    </a:lnTo>
                    <a:cubicBezTo>
                      <a:pt x="1603903" y="678257"/>
                      <a:pt x="1474711" y="549065"/>
                      <a:pt x="1316199" y="549065"/>
                    </a:cubicBezTo>
                    <a:lnTo>
                      <a:pt x="293430" y="549065"/>
                    </a:lnTo>
                    <a:cubicBezTo>
                      <a:pt x="131712" y="549065"/>
                      <a:pt x="0" y="417583"/>
                      <a:pt x="0" y="255635"/>
                    </a:cubicBezTo>
                    <a:lnTo>
                      <a:pt x="0" y="0"/>
                    </a:lnTo>
                    <a:lnTo>
                      <a:pt x="5727" y="0"/>
                    </a:lnTo>
                    <a:lnTo>
                      <a:pt x="5727" y="255635"/>
                    </a:lnTo>
                    <a:cubicBezTo>
                      <a:pt x="5727" y="414376"/>
                      <a:pt x="134918" y="543339"/>
                      <a:pt x="293430" y="543339"/>
                    </a:cubicBezTo>
                    <a:lnTo>
                      <a:pt x="1316199" y="543339"/>
                    </a:lnTo>
                    <a:cubicBezTo>
                      <a:pt x="1477918" y="543339"/>
                      <a:pt x="1609630" y="675050"/>
                      <a:pt x="1609630" y="836769"/>
                    </a:cubicBezTo>
                    <a:lnTo>
                      <a:pt x="1609630" y="1400495"/>
                    </a:lnTo>
                    <a:cubicBezTo>
                      <a:pt x="1609630" y="1559007"/>
                      <a:pt x="1738821" y="1688198"/>
                      <a:pt x="1897333" y="1688198"/>
                    </a:cubicBezTo>
                    <a:lnTo>
                      <a:pt x="2954920" y="16881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97E39499-BBB2-25F7-7607-9CC7B2BB4607}"/>
                  </a:ext>
                </a:extLst>
              </p:cNvPr>
              <p:cNvSpPr/>
              <p:nvPr/>
            </p:nvSpPr>
            <p:spPr>
              <a:xfrm>
                <a:off x="15643548" y="2217630"/>
                <a:ext cx="2559785" cy="1095381"/>
              </a:xfrm>
              <a:custGeom>
                <a:avLst/>
                <a:gdLst>
                  <a:gd name="connsiteX0" fmla="*/ 2559785 w 2559785"/>
                  <a:gd name="connsiteY0" fmla="*/ 1095382 h 1095381"/>
                  <a:gd name="connsiteX1" fmla="*/ 293431 w 2559785"/>
                  <a:gd name="connsiteY1" fmla="*/ 1095382 h 1095381"/>
                  <a:gd name="connsiteX2" fmla="*/ 0 w 2559785"/>
                  <a:gd name="connsiteY2" fmla="*/ 801951 h 1095381"/>
                  <a:gd name="connsiteX3" fmla="*/ 0 w 2559785"/>
                  <a:gd name="connsiteY3" fmla="*/ 0 h 1095381"/>
                  <a:gd name="connsiteX4" fmla="*/ 5956 w 2559785"/>
                  <a:gd name="connsiteY4" fmla="*/ 0 h 1095381"/>
                  <a:gd name="connsiteX5" fmla="*/ 5956 w 2559785"/>
                  <a:gd name="connsiteY5" fmla="*/ 801951 h 1095381"/>
                  <a:gd name="connsiteX6" fmla="*/ 293431 w 2559785"/>
                  <a:gd name="connsiteY6" fmla="*/ 1089655 h 1095381"/>
                  <a:gd name="connsiteX7" fmla="*/ 2559785 w 2559785"/>
                  <a:gd name="connsiteY7" fmla="*/ 1089655 h 109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9785" h="1095381">
                    <a:moveTo>
                      <a:pt x="2559785" y="1095382"/>
                    </a:moveTo>
                    <a:lnTo>
                      <a:pt x="293431" y="1095382"/>
                    </a:lnTo>
                    <a:cubicBezTo>
                      <a:pt x="131712" y="1095382"/>
                      <a:pt x="0" y="963670"/>
                      <a:pt x="0" y="801951"/>
                    </a:cubicBezTo>
                    <a:lnTo>
                      <a:pt x="0" y="0"/>
                    </a:lnTo>
                    <a:lnTo>
                      <a:pt x="5956" y="0"/>
                    </a:lnTo>
                    <a:lnTo>
                      <a:pt x="5956" y="801951"/>
                    </a:lnTo>
                    <a:cubicBezTo>
                      <a:pt x="5956" y="960464"/>
                      <a:pt x="134918" y="1089655"/>
                      <a:pt x="293431" y="1089655"/>
                    </a:cubicBezTo>
                    <a:lnTo>
                      <a:pt x="2559785" y="1089655"/>
                    </a:ln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E2D8E12A-7DE3-249E-494D-C36552B46073}"/>
                  </a:ext>
                </a:extLst>
              </p:cNvPr>
              <p:cNvSpPr/>
              <p:nvPr/>
            </p:nvSpPr>
            <p:spPr>
              <a:xfrm>
                <a:off x="17375268" y="3876737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DB3A039F-1BE6-18C1-AE85-F6E033F80301}"/>
                  </a:ext>
                </a:extLst>
              </p:cNvPr>
              <p:cNvSpPr/>
              <p:nvPr/>
            </p:nvSpPr>
            <p:spPr>
              <a:xfrm>
                <a:off x="18165537" y="3272239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76ACBD35-EB1A-CB3C-F86A-04B1992A4355}"/>
                </a:ext>
              </a:extLst>
            </p:cNvPr>
            <p:cNvSpPr/>
            <p:nvPr userDrawn="1"/>
          </p:nvSpPr>
          <p:spPr>
            <a:xfrm rot="10800000">
              <a:off x="5146454" y="998099"/>
              <a:ext cx="110751" cy="110416"/>
            </a:xfrm>
            <a:custGeom>
              <a:avLst/>
              <a:gdLst>
                <a:gd name="connsiteX0" fmla="*/ 75591 w 75590"/>
                <a:gd name="connsiteY0" fmla="*/ 37566 h 75361"/>
                <a:gd name="connsiteX1" fmla="*/ 37795 w 75590"/>
                <a:gd name="connsiteY1" fmla="*/ 75362 h 75361"/>
                <a:gd name="connsiteX2" fmla="*/ 0 w 75590"/>
                <a:gd name="connsiteY2" fmla="*/ 37566 h 75361"/>
                <a:gd name="connsiteX3" fmla="*/ 37795 w 75590"/>
                <a:gd name="connsiteY3" fmla="*/ 0 h 75361"/>
                <a:gd name="connsiteX4" fmla="*/ 75591 w 75590"/>
                <a:gd name="connsiteY4" fmla="*/ 37566 h 7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361">
                  <a:moveTo>
                    <a:pt x="75591" y="37566"/>
                  </a:moveTo>
                  <a:cubicBezTo>
                    <a:pt x="75591" y="58640"/>
                    <a:pt x="58640" y="75362"/>
                    <a:pt x="37795" y="75362"/>
                  </a:cubicBezTo>
                  <a:cubicBezTo>
                    <a:pt x="16950" y="75362"/>
                    <a:pt x="0" y="58640"/>
                    <a:pt x="0" y="37566"/>
                  </a:cubicBezTo>
                  <a:cubicBezTo>
                    <a:pt x="0" y="16722"/>
                    <a:pt x="16950" y="0"/>
                    <a:pt x="37795" y="0"/>
                  </a:cubicBezTo>
                  <a:cubicBezTo>
                    <a:pt x="58640" y="0"/>
                    <a:pt x="75591" y="16722"/>
                    <a:pt x="75591" y="37566"/>
                  </a:cubicBezTo>
                  <a:close/>
                </a:path>
              </a:pathLst>
            </a:custGeom>
            <a:solidFill>
              <a:schemeClr val="accent2"/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B4BE5C62-4A6B-938B-6E1A-555D37EA061E}"/>
                </a:ext>
              </a:extLst>
            </p:cNvPr>
            <p:cNvGrpSpPr/>
            <p:nvPr userDrawn="1"/>
          </p:nvGrpSpPr>
          <p:grpSpPr>
            <a:xfrm>
              <a:off x="3877833" y="-35176"/>
              <a:ext cx="2869164" cy="2277476"/>
              <a:chOff x="3877833" y="65762"/>
              <a:chExt cx="2869164" cy="2277476"/>
            </a:xfrm>
          </p:grpSpPr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52FC090C-F230-F145-0774-76CAE7F5E2CF}"/>
                  </a:ext>
                </a:extLst>
              </p:cNvPr>
              <p:cNvSpPr/>
              <p:nvPr/>
            </p:nvSpPr>
            <p:spPr>
              <a:xfrm rot="10800000">
                <a:off x="3933209" y="65762"/>
                <a:ext cx="2813788" cy="2226463"/>
              </a:xfrm>
              <a:custGeom>
                <a:avLst/>
                <a:gdLst>
                  <a:gd name="connsiteX0" fmla="*/ 5727 w 1920468"/>
                  <a:gd name="connsiteY0" fmla="*/ 1519607 h 1519607"/>
                  <a:gd name="connsiteX1" fmla="*/ 0 w 1920468"/>
                  <a:gd name="connsiteY1" fmla="*/ 1519607 h 1519607"/>
                  <a:gd name="connsiteX2" fmla="*/ 0 w 1920468"/>
                  <a:gd name="connsiteY2" fmla="*/ 293430 h 1519607"/>
                  <a:gd name="connsiteX3" fmla="*/ 293430 w 1920468"/>
                  <a:gd name="connsiteY3" fmla="*/ 0 h 1519607"/>
                  <a:gd name="connsiteX4" fmla="*/ 1920469 w 1920468"/>
                  <a:gd name="connsiteY4" fmla="*/ 0 h 1519607"/>
                  <a:gd name="connsiteX5" fmla="*/ 1920469 w 1920468"/>
                  <a:gd name="connsiteY5" fmla="*/ 5956 h 1519607"/>
                  <a:gd name="connsiteX6" fmla="*/ 293430 w 1920468"/>
                  <a:gd name="connsiteY6" fmla="*/ 5956 h 1519607"/>
                  <a:gd name="connsiteX7" fmla="*/ 5727 w 1920468"/>
                  <a:gd name="connsiteY7" fmla="*/ 293430 h 15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468" h="1519607">
                    <a:moveTo>
                      <a:pt x="5727" y="1519607"/>
                    </a:moveTo>
                    <a:lnTo>
                      <a:pt x="0" y="1519607"/>
                    </a:lnTo>
                    <a:lnTo>
                      <a:pt x="0" y="293430"/>
                    </a:lnTo>
                    <a:cubicBezTo>
                      <a:pt x="0" y="131712"/>
                      <a:pt x="131483" y="0"/>
                      <a:pt x="293430" y="0"/>
                    </a:cubicBezTo>
                    <a:lnTo>
                      <a:pt x="1920469" y="0"/>
                    </a:lnTo>
                    <a:lnTo>
                      <a:pt x="1920469" y="5956"/>
                    </a:lnTo>
                    <a:lnTo>
                      <a:pt x="293430" y="5956"/>
                    </a:lnTo>
                    <a:cubicBezTo>
                      <a:pt x="134689" y="5956"/>
                      <a:pt x="5727" y="134918"/>
                      <a:pt x="5727" y="29343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36B59B3B-9F78-E36A-55D7-4368537781CB}"/>
                  </a:ext>
                </a:extLst>
              </p:cNvPr>
              <p:cNvSpPr/>
              <p:nvPr/>
            </p:nvSpPr>
            <p:spPr>
              <a:xfrm rot="10800000">
                <a:off x="3877833" y="2232487"/>
                <a:ext cx="110751" cy="110751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0" y="75591"/>
                      <a:pt x="0" y="58640"/>
                      <a:pt x="0" y="37795"/>
                    </a:cubicBezTo>
                    <a:cubicBezTo>
                      <a:pt x="0" y="16951"/>
                      <a:pt x="16950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E72DFD1C-38A1-A154-83E0-E27E62B35636}"/>
                </a:ext>
              </a:extLst>
            </p:cNvPr>
            <p:cNvSpPr/>
            <p:nvPr userDrawn="1"/>
          </p:nvSpPr>
          <p:spPr>
            <a:xfrm rot="10800000">
              <a:off x="9792894" y="4071653"/>
              <a:ext cx="110751" cy="110751"/>
            </a:xfrm>
            <a:custGeom>
              <a:avLst/>
              <a:gdLst>
                <a:gd name="connsiteX0" fmla="*/ 75591 w 75590"/>
                <a:gd name="connsiteY0" fmla="*/ 37795 h 75590"/>
                <a:gd name="connsiteX1" fmla="*/ 37795 w 75590"/>
                <a:gd name="connsiteY1" fmla="*/ 75591 h 75590"/>
                <a:gd name="connsiteX2" fmla="*/ 0 w 75590"/>
                <a:gd name="connsiteY2" fmla="*/ 37795 h 75590"/>
                <a:gd name="connsiteX3" fmla="*/ 37795 w 75590"/>
                <a:gd name="connsiteY3" fmla="*/ 0 h 75590"/>
                <a:gd name="connsiteX4" fmla="*/ 75591 w 75590"/>
                <a:gd name="connsiteY4" fmla="*/ 37795 h 7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590">
                  <a:moveTo>
                    <a:pt x="75591" y="37795"/>
                  </a:moveTo>
                  <a:cubicBezTo>
                    <a:pt x="75591" y="58640"/>
                    <a:pt x="58640" y="75591"/>
                    <a:pt x="37795" y="75591"/>
                  </a:cubicBezTo>
                  <a:cubicBezTo>
                    <a:pt x="16951" y="75591"/>
                    <a:pt x="0" y="58640"/>
                    <a:pt x="0" y="37795"/>
                  </a:cubicBezTo>
                  <a:cubicBezTo>
                    <a:pt x="0" y="16951"/>
                    <a:pt x="16951" y="0"/>
                    <a:pt x="37795" y="0"/>
                  </a:cubicBezTo>
                  <a:cubicBezTo>
                    <a:pt x="58640" y="0"/>
                    <a:pt x="75591" y="16951"/>
                    <a:pt x="75591" y="3779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73746E94-9B89-8655-04DE-2B66DC51C7E8}"/>
              </a:ext>
            </a:extLst>
          </p:cNvPr>
          <p:cNvGrpSpPr/>
          <p:nvPr userDrawn="1"/>
        </p:nvGrpSpPr>
        <p:grpSpPr>
          <a:xfrm>
            <a:off x="10462869" y="65761"/>
            <a:ext cx="1715658" cy="1732439"/>
            <a:chOff x="22566503" y="38955"/>
            <a:chExt cx="1715658" cy="1732439"/>
          </a:xfrm>
          <a:solidFill>
            <a:schemeClr val="bg1"/>
          </a:solidFill>
        </p:grpSpPr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86A63AC-4ABB-8F6F-D177-7683188B6295}"/>
                </a:ext>
              </a:extLst>
            </p:cNvPr>
            <p:cNvSpPr/>
            <p:nvPr userDrawn="1"/>
          </p:nvSpPr>
          <p:spPr>
            <a:xfrm rot="10800000">
              <a:off x="22600735" y="38955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E50B91DE-5136-B3F8-EC0E-63E6D6476EBF}"/>
                </a:ext>
              </a:extLst>
            </p:cNvPr>
            <p:cNvSpPr/>
            <p:nvPr userDrawn="1"/>
          </p:nvSpPr>
          <p:spPr>
            <a:xfrm rot="10800000">
              <a:off x="22566503" y="570902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18" name="Rectangle 5">
            <a:extLst>
              <a:ext uri="{FF2B5EF4-FFF2-40B4-BE49-F238E27FC236}">
                <a16:creationId xmlns:a16="http://schemas.microsoft.com/office/drawing/2014/main" id="{E7E1E30A-3DD8-F4C8-FC34-BA04E84914C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219" name="Foliennummernplatzhalter 3">
            <a:extLst>
              <a:ext uri="{FF2B5EF4-FFF2-40B4-BE49-F238E27FC236}">
                <a16:creationId xmlns:a16="http://schemas.microsoft.com/office/drawing/2014/main" id="{807B4CD6-8DA4-0AF3-C254-E3527FE4FA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 dirty="0">
              <a:solidFill>
                <a:srgbClr val="626469"/>
              </a:solidFill>
            </a:endParaRPr>
          </a:p>
        </p:txBody>
      </p:sp>
      <p:pic>
        <p:nvPicPr>
          <p:cNvPr id="221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0FE2C195-BD5F-9460-DF5C-59EA063A45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16" y="4847238"/>
            <a:ext cx="2226336" cy="157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4846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087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: Single Corner Rounded 18">
            <a:extLst>
              <a:ext uri="{FF2B5EF4-FFF2-40B4-BE49-F238E27FC236}">
                <a16:creationId xmlns:a16="http://schemas.microsoft.com/office/drawing/2014/main" id="{9132887D-06B2-F97B-1653-1FAD821DFFB5}"/>
              </a:ext>
            </a:extLst>
          </p:cNvPr>
          <p:cNvSpPr/>
          <p:nvPr userDrawn="1"/>
        </p:nvSpPr>
        <p:spPr>
          <a:xfrm flipH="1">
            <a:off x="6997699" y="4572000"/>
            <a:ext cx="5194300" cy="2286000"/>
          </a:xfrm>
          <a:prstGeom prst="round1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3AB4BBF-CD16-0DEA-5970-D59DBC564FD8}"/>
              </a:ext>
            </a:extLst>
          </p:cNvPr>
          <p:cNvGrpSpPr/>
          <p:nvPr userDrawn="1"/>
        </p:nvGrpSpPr>
        <p:grpSpPr>
          <a:xfrm rot="5400000" flipV="1">
            <a:off x="6676232" y="1365140"/>
            <a:ext cx="5153025" cy="5856286"/>
            <a:chOff x="5618264" y="-11928"/>
            <a:chExt cx="6573736" cy="6869928"/>
          </a:xfrm>
          <a:solidFill>
            <a:schemeClr val="bg1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EBDD8A1-8EE9-8501-DC3E-326FA8EB2462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2A69EF7-943D-CDDC-5405-64C8A119B854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D0B7443-CEED-ADBF-5D2A-F37DE5F39834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463E08F-0DCB-AC41-A2F4-822BEAF20395}"/>
                </a:ext>
              </a:extLst>
            </p:cNvPr>
            <p:cNvSpPr/>
            <p:nvPr/>
          </p:nvSpPr>
          <p:spPr>
            <a:xfrm rot="10800000">
              <a:off x="8915965" y="686503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58D1DC-487B-5AE4-755C-629DE70EEC62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9E5D6C6-D302-32AF-333D-56F9968049A9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2" name="Picture 1" descr="Logo&#10;&#10;Description automatically generated with medium confidence">
            <a:extLst>
              <a:ext uri="{FF2B5EF4-FFF2-40B4-BE49-F238E27FC236}">
                <a16:creationId xmlns:a16="http://schemas.microsoft.com/office/drawing/2014/main" id="{9AB91DD4-0226-70B9-9B57-C7F4A39FAF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8257768" y="823785"/>
            <a:ext cx="2740431" cy="5346514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7F809DA-3C4E-4C4D-29BD-76FF11D40300}"/>
              </a:ext>
            </a:extLst>
          </p:cNvPr>
          <p:cNvSpPr/>
          <p:nvPr userDrawn="1"/>
        </p:nvSpPr>
        <p:spPr>
          <a:xfrm>
            <a:off x="8504219" y="1356389"/>
            <a:ext cx="2222035" cy="4472307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C6DDEE2B-C8BB-B8BB-0357-76488C0ADE0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19" y="1353159"/>
            <a:ext cx="2222035" cy="4472307"/>
          </a:xfrm>
          <a:prstGeom prst="roundRect">
            <a:avLst>
              <a:gd name="adj" fmla="val 4260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BCA76E2-240F-F2EB-3351-B734F4AF6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93515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ADAEFAB-DCD4-89B2-7AC9-742C8B05E2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98" y="225425"/>
            <a:ext cx="11593515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7EE2DCE1-1A8C-8F54-9D6C-DBFBCA7F83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483696"/>
            <a:ext cx="7265598" cy="46866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EB5BB6-E30D-C9AB-A020-D5B73C91FE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8" y="1137046"/>
            <a:ext cx="7265598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pic>
        <p:nvPicPr>
          <p:cNvPr id="23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1B3E618B-868C-7AFF-A82F-C3C0C2DE89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961" y="6237798"/>
            <a:ext cx="1016574" cy="72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5">
            <a:extLst>
              <a:ext uri="{FF2B5EF4-FFF2-40B4-BE49-F238E27FC236}">
                <a16:creationId xmlns:a16="http://schemas.microsoft.com/office/drawing/2014/main" id="{BF1BB4E3-FA24-822C-4888-9FB68AB623CC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24" name="Foliennummernplatzhalter 3">
            <a:extLst>
              <a:ext uri="{FF2B5EF4-FFF2-40B4-BE49-F238E27FC236}">
                <a16:creationId xmlns:a16="http://schemas.microsoft.com/office/drawing/2014/main" id="{A5A0DEE1-FBF8-1A18-DFA6-CB5097E76E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429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38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18F2614-EC8A-87C8-45AB-FBC55C824E6E}"/>
              </a:ext>
            </a:extLst>
          </p:cNvPr>
          <p:cNvSpPr/>
          <p:nvPr/>
        </p:nvSpPr>
        <p:spPr>
          <a:xfrm>
            <a:off x="11111" y="23138"/>
            <a:ext cx="3078689" cy="1361123"/>
          </a:xfrm>
          <a:custGeom>
            <a:avLst/>
            <a:gdLst>
              <a:gd name="connsiteX0" fmla="*/ 2453078 w 2855226"/>
              <a:gd name="connsiteY0" fmla="*/ 1262327 h 1262327"/>
              <a:gd name="connsiteX1" fmla="*/ 0 w 2855226"/>
              <a:gd name="connsiteY1" fmla="*/ 1262327 h 1262327"/>
              <a:gd name="connsiteX2" fmla="*/ 0 w 2855226"/>
              <a:gd name="connsiteY2" fmla="*/ 1254479 h 1262327"/>
              <a:gd name="connsiteX3" fmla="*/ 2453078 w 2855226"/>
              <a:gd name="connsiteY3" fmla="*/ 1254479 h 1262327"/>
              <a:gd name="connsiteX4" fmla="*/ 2847064 w 2855226"/>
              <a:gd name="connsiteY4" fmla="*/ 860178 h 1262327"/>
              <a:gd name="connsiteX5" fmla="*/ 2847064 w 2855226"/>
              <a:gd name="connsiteY5" fmla="*/ 0 h 1262327"/>
              <a:gd name="connsiteX6" fmla="*/ 2855227 w 2855226"/>
              <a:gd name="connsiteY6" fmla="*/ 0 h 1262327"/>
              <a:gd name="connsiteX7" fmla="*/ 2855227 w 2855226"/>
              <a:gd name="connsiteY7" fmla="*/ 860178 h 1262327"/>
              <a:gd name="connsiteX8" fmla="*/ 2453078 w 2855226"/>
              <a:gd name="connsiteY8" fmla="*/ 1262327 h 1262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55226" h="1262327">
                <a:moveTo>
                  <a:pt x="2453078" y="1262327"/>
                </a:moveTo>
                <a:lnTo>
                  <a:pt x="0" y="1262327"/>
                </a:lnTo>
                <a:lnTo>
                  <a:pt x="0" y="1254479"/>
                </a:lnTo>
                <a:lnTo>
                  <a:pt x="2453078" y="1254479"/>
                </a:lnTo>
                <a:cubicBezTo>
                  <a:pt x="2670320" y="1254479"/>
                  <a:pt x="2847064" y="1077420"/>
                  <a:pt x="2847064" y="860178"/>
                </a:cubicBezTo>
                <a:lnTo>
                  <a:pt x="2847064" y="0"/>
                </a:lnTo>
                <a:lnTo>
                  <a:pt x="2855227" y="0"/>
                </a:lnTo>
                <a:lnTo>
                  <a:pt x="2855227" y="860178"/>
                </a:lnTo>
                <a:cubicBezTo>
                  <a:pt x="2855227" y="1081815"/>
                  <a:pt x="2674715" y="1262327"/>
                  <a:pt x="2453078" y="1262327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9437A807-DD4A-852D-F157-2A110FFC9DEC}"/>
              </a:ext>
            </a:extLst>
          </p:cNvPr>
          <p:cNvSpPr/>
          <p:nvPr/>
        </p:nvSpPr>
        <p:spPr>
          <a:xfrm>
            <a:off x="2162300" y="23138"/>
            <a:ext cx="4366694" cy="2503233"/>
          </a:xfrm>
          <a:custGeom>
            <a:avLst/>
            <a:gdLst>
              <a:gd name="connsiteX0" fmla="*/ 4049744 w 4049743"/>
              <a:gd name="connsiteY0" fmla="*/ 2321539 h 2321539"/>
              <a:gd name="connsiteX1" fmla="*/ 2600312 w 4049743"/>
              <a:gd name="connsiteY1" fmla="*/ 2321539 h 2321539"/>
              <a:gd name="connsiteX2" fmla="*/ 2198164 w 4049743"/>
              <a:gd name="connsiteY2" fmla="*/ 1919390 h 2321539"/>
              <a:gd name="connsiteX3" fmla="*/ 2198164 w 4049743"/>
              <a:gd name="connsiteY3" fmla="*/ 1146800 h 2321539"/>
              <a:gd name="connsiteX4" fmla="*/ 1803863 w 4049743"/>
              <a:gd name="connsiteY4" fmla="*/ 752499 h 2321539"/>
              <a:gd name="connsiteX5" fmla="*/ 402149 w 4049743"/>
              <a:gd name="connsiteY5" fmla="*/ 752499 h 2321539"/>
              <a:gd name="connsiteX6" fmla="*/ 0 w 4049743"/>
              <a:gd name="connsiteY6" fmla="*/ 350350 h 2321539"/>
              <a:gd name="connsiteX7" fmla="*/ 0 w 4049743"/>
              <a:gd name="connsiteY7" fmla="*/ 0 h 2321539"/>
              <a:gd name="connsiteX8" fmla="*/ 7848 w 4049743"/>
              <a:gd name="connsiteY8" fmla="*/ 0 h 2321539"/>
              <a:gd name="connsiteX9" fmla="*/ 7848 w 4049743"/>
              <a:gd name="connsiteY9" fmla="*/ 350350 h 2321539"/>
              <a:gd name="connsiteX10" fmla="*/ 402149 w 4049743"/>
              <a:gd name="connsiteY10" fmla="*/ 744651 h 2321539"/>
              <a:gd name="connsiteX11" fmla="*/ 1803863 w 4049743"/>
              <a:gd name="connsiteY11" fmla="*/ 744651 h 2321539"/>
              <a:gd name="connsiteX12" fmla="*/ 2206012 w 4049743"/>
              <a:gd name="connsiteY12" fmla="*/ 1146800 h 2321539"/>
              <a:gd name="connsiteX13" fmla="*/ 2206012 w 4049743"/>
              <a:gd name="connsiteY13" fmla="*/ 1919390 h 2321539"/>
              <a:gd name="connsiteX14" fmla="*/ 2600312 w 4049743"/>
              <a:gd name="connsiteY14" fmla="*/ 2313691 h 2321539"/>
              <a:gd name="connsiteX15" fmla="*/ 4049744 w 4049743"/>
              <a:gd name="connsiteY15" fmla="*/ 2313691 h 2321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49743" h="2321539">
                <a:moveTo>
                  <a:pt x="4049744" y="2321539"/>
                </a:moveTo>
                <a:lnTo>
                  <a:pt x="2600312" y="2321539"/>
                </a:lnTo>
                <a:cubicBezTo>
                  <a:pt x="2378675" y="2321539"/>
                  <a:pt x="2198164" y="2141028"/>
                  <a:pt x="2198164" y="1919390"/>
                </a:cubicBezTo>
                <a:lnTo>
                  <a:pt x="2198164" y="1146800"/>
                </a:lnTo>
                <a:cubicBezTo>
                  <a:pt x="2198164" y="929557"/>
                  <a:pt x="2021105" y="752499"/>
                  <a:pt x="1803863" y="752499"/>
                </a:cubicBezTo>
                <a:lnTo>
                  <a:pt x="402149" y="752499"/>
                </a:lnTo>
                <a:cubicBezTo>
                  <a:pt x="180512" y="752499"/>
                  <a:pt x="0" y="572301"/>
                  <a:pt x="0" y="350350"/>
                </a:cubicBezTo>
                <a:lnTo>
                  <a:pt x="0" y="0"/>
                </a:lnTo>
                <a:lnTo>
                  <a:pt x="7848" y="0"/>
                </a:lnTo>
                <a:lnTo>
                  <a:pt x="7848" y="350350"/>
                </a:lnTo>
                <a:cubicBezTo>
                  <a:pt x="7848" y="567906"/>
                  <a:pt x="184907" y="744651"/>
                  <a:pt x="402149" y="744651"/>
                </a:cubicBezTo>
                <a:lnTo>
                  <a:pt x="1803863" y="744651"/>
                </a:lnTo>
                <a:cubicBezTo>
                  <a:pt x="2025500" y="744651"/>
                  <a:pt x="2206012" y="925162"/>
                  <a:pt x="2206012" y="1146800"/>
                </a:cubicBezTo>
                <a:lnTo>
                  <a:pt x="2206012" y="1919390"/>
                </a:lnTo>
                <a:cubicBezTo>
                  <a:pt x="2206012" y="2136632"/>
                  <a:pt x="2383071" y="2313691"/>
                  <a:pt x="2600312" y="2313691"/>
                </a:cubicBezTo>
                <a:lnTo>
                  <a:pt x="4049744" y="231369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6DC1CBAD-B8CB-2830-9A34-1F19AEC6DEBF}"/>
              </a:ext>
            </a:extLst>
          </p:cNvPr>
          <p:cNvSpPr/>
          <p:nvPr/>
        </p:nvSpPr>
        <p:spPr>
          <a:xfrm>
            <a:off x="11111" y="2792773"/>
            <a:ext cx="2052346" cy="8462"/>
          </a:xfrm>
          <a:custGeom>
            <a:avLst/>
            <a:gdLst>
              <a:gd name="connsiteX0" fmla="*/ 1903380 w 1903379"/>
              <a:gd name="connsiteY0" fmla="*/ 7848 h 7848"/>
              <a:gd name="connsiteX1" fmla="*/ 0 w 1903379"/>
              <a:gd name="connsiteY1" fmla="*/ 7848 h 7848"/>
              <a:gd name="connsiteX2" fmla="*/ 0 w 1903379"/>
              <a:gd name="connsiteY2" fmla="*/ 0 h 7848"/>
              <a:gd name="connsiteX3" fmla="*/ 1903380 w 1903379"/>
              <a:gd name="connsiteY3" fmla="*/ 0 h 7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379" h="7848">
                <a:moveTo>
                  <a:pt x="1903380" y="7848"/>
                </a:moveTo>
                <a:lnTo>
                  <a:pt x="0" y="7848"/>
                </a:lnTo>
                <a:lnTo>
                  <a:pt x="0" y="0"/>
                </a:lnTo>
                <a:lnTo>
                  <a:pt x="190338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BE98F275-B442-E65F-37A5-F1DA54C63E3A}"/>
              </a:ext>
            </a:extLst>
          </p:cNvPr>
          <p:cNvSpPr/>
          <p:nvPr/>
        </p:nvSpPr>
        <p:spPr>
          <a:xfrm>
            <a:off x="3416116" y="791540"/>
            <a:ext cx="77179" cy="77516"/>
          </a:xfrm>
          <a:custGeom>
            <a:avLst/>
            <a:gdLst>
              <a:gd name="connsiteX0" fmla="*/ 71577 w 71577"/>
              <a:gd name="connsiteY0" fmla="*/ 36102 h 71890"/>
              <a:gd name="connsiteX1" fmla="*/ 35789 w 71577"/>
              <a:gd name="connsiteY1" fmla="*/ 71891 h 71890"/>
              <a:gd name="connsiteX2" fmla="*/ 0 w 71577"/>
              <a:gd name="connsiteY2" fmla="*/ 36102 h 71890"/>
              <a:gd name="connsiteX3" fmla="*/ 35789 w 71577"/>
              <a:gd name="connsiteY3" fmla="*/ 0 h 71890"/>
              <a:gd name="connsiteX4" fmla="*/ 71577 w 71577"/>
              <a:gd name="connsiteY4" fmla="*/ 36102 h 71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7" h="71890">
                <a:moveTo>
                  <a:pt x="71577" y="36102"/>
                </a:moveTo>
                <a:cubicBezTo>
                  <a:pt x="71577" y="55880"/>
                  <a:pt x="55566" y="71891"/>
                  <a:pt x="35789" y="71891"/>
                </a:cubicBezTo>
                <a:cubicBezTo>
                  <a:pt x="16011" y="71891"/>
                  <a:pt x="0" y="55880"/>
                  <a:pt x="0" y="36102"/>
                </a:cubicBezTo>
                <a:cubicBezTo>
                  <a:pt x="0" y="16325"/>
                  <a:pt x="16011" y="0"/>
                  <a:pt x="35789" y="0"/>
                </a:cubicBezTo>
                <a:cubicBezTo>
                  <a:pt x="55566" y="0"/>
                  <a:pt x="71577" y="16325"/>
                  <a:pt x="71577" y="36102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A04E4207-C0B6-C31F-0E2C-923BBED184CC}"/>
              </a:ext>
            </a:extLst>
          </p:cNvPr>
          <p:cNvSpPr/>
          <p:nvPr/>
        </p:nvSpPr>
        <p:spPr>
          <a:xfrm>
            <a:off x="1835982" y="1341270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9 w 71576"/>
              <a:gd name="connsiteY1" fmla="*/ 71577 h 71576"/>
              <a:gd name="connsiteX2" fmla="*/ 0 w 71576"/>
              <a:gd name="connsiteY2" fmla="*/ 35788 h 71576"/>
              <a:gd name="connsiteX3" fmla="*/ 35789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9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9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9BAFCA06-D6E9-6D77-F173-800A1FEC2DF4}"/>
              </a:ext>
            </a:extLst>
          </p:cNvPr>
          <p:cNvSpPr/>
          <p:nvPr/>
        </p:nvSpPr>
        <p:spPr>
          <a:xfrm>
            <a:off x="3209968" y="2912941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8 w 71576"/>
              <a:gd name="connsiteY1" fmla="*/ 71577 h 71576"/>
              <a:gd name="connsiteX2" fmla="*/ 0 w 71576"/>
              <a:gd name="connsiteY2" fmla="*/ 35788 h 71576"/>
              <a:gd name="connsiteX3" fmla="*/ 35788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4E1B7FAE-E00F-1C0F-0101-F4796581BA70}"/>
              </a:ext>
            </a:extLst>
          </p:cNvPr>
          <p:cNvSpPr/>
          <p:nvPr/>
        </p:nvSpPr>
        <p:spPr>
          <a:xfrm>
            <a:off x="874294" y="2758246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8 w 71576"/>
              <a:gd name="connsiteY1" fmla="*/ 71577 h 71576"/>
              <a:gd name="connsiteX2" fmla="*/ 0 w 71576"/>
              <a:gd name="connsiteY2" fmla="*/ 35788 h 71576"/>
              <a:gd name="connsiteX3" fmla="*/ 35788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7AA8532-F207-5E96-A4CE-DC941E7B15CF}"/>
              </a:ext>
            </a:extLst>
          </p:cNvPr>
          <p:cNvSpPr/>
          <p:nvPr/>
        </p:nvSpPr>
        <p:spPr>
          <a:xfrm>
            <a:off x="3209968" y="3179005"/>
            <a:ext cx="77178" cy="77178"/>
          </a:xfrm>
          <a:custGeom>
            <a:avLst/>
            <a:gdLst>
              <a:gd name="connsiteX0" fmla="*/ 71577 w 71576"/>
              <a:gd name="connsiteY0" fmla="*/ 35789 h 71576"/>
              <a:gd name="connsiteX1" fmla="*/ 35788 w 71576"/>
              <a:gd name="connsiteY1" fmla="*/ 71577 h 71576"/>
              <a:gd name="connsiteX2" fmla="*/ 0 w 71576"/>
              <a:gd name="connsiteY2" fmla="*/ 35789 h 71576"/>
              <a:gd name="connsiteX3" fmla="*/ 35788 w 71576"/>
              <a:gd name="connsiteY3" fmla="*/ 0 h 71576"/>
              <a:gd name="connsiteX4" fmla="*/ 71577 w 71576"/>
              <a:gd name="connsiteY4" fmla="*/ 35789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9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9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0664AFD-8F36-7E09-00A8-57ABF4220B4A}"/>
              </a:ext>
            </a:extLst>
          </p:cNvPr>
          <p:cNvSpPr/>
          <p:nvPr/>
        </p:nvSpPr>
        <p:spPr>
          <a:xfrm>
            <a:off x="2007604" y="2740982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4039EFA6-421E-B5CC-5625-AC6E3D066799}"/>
              </a:ext>
            </a:extLst>
          </p:cNvPr>
          <p:cNvSpPr/>
          <p:nvPr userDrawn="1"/>
        </p:nvSpPr>
        <p:spPr>
          <a:xfrm>
            <a:off x="6473141" y="2470518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907205C-643E-7811-5AB7-25488E56A8E2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3F0FB66-CBCE-A4D1-13C5-1EDCEEFB123B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4591277-E52B-2B07-2ED2-E827D3B713D4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A58EC88-3A76-8025-27D2-1ED87AC5A832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644164A-BBBE-AE1E-AE32-377FE27991BA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F0A46F8-F5B6-9679-3F1C-CA783F2A597C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638A81D-7FB5-5039-21DD-A0E04354250B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42C6457-15D4-2B4D-BFF3-D1F137157CDD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9D79206-DC8E-0E9F-9EF0-EECCB2256B4B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86835EC-8521-6E76-9B39-F7B6FDE45D72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3F4941A-C015-C1E7-ECE1-D2E10E5E71ED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3AB03A1-A054-2B26-8B94-8DFA86525B0D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549C04C-747E-5D01-171E-BEC88A2AC0EA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903B911-1496-D7E6-C68A-5FD9C6D41811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CFA80D9E-102F-74A1-971A-404EAA1687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8143469" y="1170525"/>
            <a:ext cx="2471370" cy="4821583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8C0B7AC-50B7-166A-C76A-881AC3F228AA}"/>
              </a:ext>
            </a:extLst>
          </p:cNvPr>
          <p:cNvSpPr/>
          <p:nvPr userDrawn="1"/>
        </p:nvSpPr>
        <p:spPr>
          <a:xfrm>
            <a:off x="8377219" y="161729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23E588A1-8E33-704D-BFCC-B3C43C22FCF8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8377219" y="161406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8" name="Picture 7" descr="Logo&#10;&#10;Description automatically generated with medium confidence">
            <a:extLst>
              <a:ext uri="{FF2B5EF4-FFF2-40B4-BE49-F238E27FC236}">
                <a16:creationId xmlns:a16="http://schemas.microsoft.com/office/drawing/2014/main" id="{4A9811BB-DE17-1050-50A9-F31C53A8E9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4860315" y="1184805"/>
            <a:ext cx="2471370" cy="4821583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B5EFF1A-D5A5-09A9-67A4-7CDEF536A227}"/>
              </a:ext>
            </a:extLst>
          </p:cNvPr>
          <p:cNvSpPr/>
          <p:nvPr userDrawn="1"/>
        </p:nvSpPr>
        <p:spPr>
          <a:xfrm>
            <a:off x="5094065" y="163157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2E08430E-50CC-BEC3-28CA-692B48744CC4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5094065" y="162834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4424D608-6238-C262-F5D4-F1ACC99FB6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1577161" y="1170525"/>
            <a:ext cx="2471370" cy="4821583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C304948-5F2F-069A-66DF-80E2957761FA}"/>
              </a:ext>
            </a:extLst>
          </p:cNvPr>
          <p:cNvSpPr/>
          <p:nvPr userDrawn="1"/>
        </p:nvSpPr>
        <p:spPr>
          <a:xfrm>
            <a:off x="1810911" y="161729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A9F11746-D5AF-D0BB-684A-8826D3511862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1810911" y="161406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FED962AC-DC7A-9CA4-90E6-E58A7232168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4798" y="533399"/>
            <a:ext cx="11593515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15D5987A-7E4A-F9B9-FB6B-5E3D33000A85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04798" y="225425"/>
            <a:ext cx="11593515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6" name="Rectangle 5">
            <a:extLst>
              <a:ext uri="{FF2B5EF4-FFF2-40B4-BE49-F238E27FC236}">
                <a16:creationId xmlns:a16="http://schemas.microsoft.com/office/drawing/2014/main" id="{D8F0D4DD-4FC7-6D4D-3A60-DE6FF83EFEF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7" name="Foliennummernplatzhalter 3">
            <a:extLst>
              <a:ext uri="{FF2B5EF4-FFF2-40B4-BE49-F238E27FC236}">
                <a16:creationId xmlns:a16="http://schemas.microsoft.com/office/drawing/2014/main" id="{026F05A9-62F2-1072-DEF7-E2D3C1CCFA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72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evice with photo (no lines artwo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38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9BAFCA06-D6E9-6D77-F173-800A1FEC2DF4}"/>
              </a:ext>
            </a:extLst>
          </p:cNvPr>
          <p:cNvSpPr/>
          <p:nvPr/>
        </p:nvSpPr>
        <p:spPr>
          <a:xfrm>
            <a:off x="3209968" y="2912941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8 w 71576"/>
              <a:gd name="connsiteY1" fmla="*/ 71577 h 71576"/>
              <a:gd name="connsiteX2" fmla="*/ 0 w 71576"/>
              <a:gd name="connsiteY2" fmla="*/ 35788 h 71576"/>
              <a:gd name="connsiteX3" fmla="*/ 35788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7AA8532-F207-5E96-A4CE-DC941E7B15CF}"/>
              </a:ext>
            </a:extLst>
          </p:cNvPr>
          <p:cNvSpPr/>
          <p:nvPr/>
        </p:nvSpPr>
        <p:spPr>
          <a:xfrm>
            <a:off x="3209968" y="3179005"/>
            <a:ext cx="77178" cy="77178"/>
          </a:xfrm>
          <a:custGeom>
            <a:avLst/>
            <a:gdLst>
              <a:gd name="connsiteX0" fmla="*/ 71577 w 71576"/>
              <a:gd name="connsiteY0" fmla="*/ 35789 h 71576"/>
              <a:gd name="connsiteX1" fmla="*/ 35788 w 71576"/>
              <a:gd name="connsiteY1" fmla="*/ 71577 h 71576"/>
              <a:gd name="connsiteX2" fmla="*/ 0 w 71576"/>
              <a:gd name="connsiteY2" fmla="*/ 35789 h 71576"/>
              <a:gd name="connsiteX3" fmla="*/ 35788 w 71576"/>
              <a:gd name="connsiteY3" fmla="*/ 0 h 71576"/>
              <a:gd name="connsiteX4" fmla="*/ 71577 w 71576"/>
              <a:gd name="connsiteY4" fmla="*/ 35789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9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9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0664AFD-8F36-7E09-00A8-57ABF4220B4A}"/>
              </a:ext>
            </a:extLst>
          </p:cNvPr>
          <p:cNvSpPr/>
          <p:nvPr/>
        </p:nvSpPr>
        <p:spPr>
          <a:xfrm>
            <a:off x="2007604" y="2740982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4039EFA6-421E-B5CC-5625-AC6E3D066799}"/>
              </a:ext>
            </a:extLst>
          </p:cNvPr>
          <p:cNvSpPr/>
          <p:nvPr userDrawn="1"/>
        </p:nvSpPr>
        <p:spPr>
          <a:xfrm>
            <a:off x="6473141" y="2470518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CFA80D9E-102F-74A1-971A-404EAA1687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8143469" y="1170525"/>
            <a:ext cx="2471370" cy="4821583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8C0B7AC-50B7-166A-C76A-881AC3F228AA}"/>
              </a:ext>
            </a:extLst>
          </p:cNvPr>
          <p:cNvSpPr/>
          <p:nvPr userDrawn="1"/>
        </p:nvSpPr>
        <p:spPr>
          <a:xfrm>
            <a:off x="8377219" y="161729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23E588A1-8E33-704D-BFCC-B3C43C22FCF8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8377219" y="161406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8" name="Picture 7" descr="Logo&#10;&#10;Description automatically generated with medium confidence">
            <a:extLst>
              <a:ext uri="{FF2B5EF4-FFF2-40B4-BE49-F238E27FC236}">
                <a16:creationId xmlns:a16="http://schemas.microsoft.com/office/drawing/2014/main" id="{4A9811BB-DE17-1050-50A9-F31C53A8E9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4860315" y="1184805"/>
            <a:ext cx="2471370" cy="4821583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B5EFF1A-D5A5-09A9-67A4-7CDEF536A227}"/>
              </a:ext>
            </a:extLst>
          </p:cNvPr>
          <p:cNvSpPr/>
          <p:nvPr userDrawn="1"/>
        </p:nvSpPr>
        <p:spPr>
          <a:xfrm>
            <a:off x="5094065" y="163157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2E08430E-50CC-BEC3-28CA-692B48744CC4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5094065" y="162834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4424D608-6238-C262-F5D4-F1ACC99FB6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1577161" y="1170525"/>
            <a:ext cx="2471370" cy="4821583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C304948-5F2F-069A-66DF-80E2957761FA}"/>
              </a:ext>
            </a:extLst>
          </p:cNvPr>
          <p:cNvSpPr/>
          <p:nvPr userDrawn="1"/>
        </p:nvSpPr>
        <p:spPr>
          <a:xfrm>
            <a:off x="1810911" y="161729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A9F11746-D5AF-D0BB-684A-8826D3511862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1810911" y="161406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FED962AC-DC7A-9CA4-90E6-E58A7232168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4798" y="533399"/>
            <a:ext cx="11593515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15D5987A-7E4A-F9B9-FB6B-5E3D33000A85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04798" y="225425"/>
            <a:ext cx="11593515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6" name="Rectangle 5">
            <a:extLst>
              <a:ext uri="{FF2B5EF4-FFF2-40B4-BE49-F238E27FC236}">
                <a16:creationId xmlns:a16="http://schemas.microsoft.com/office/drawing/2014/main" id="{D8F0D4DD-4FC7-6D4D-3A60-DE6FF83EFEF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7" name="Foliennummernplatzhalter 3">
            <a:extLst>
              <a:ext uri="{FF2B5EF4-FFF2-40B4-BE49-F238E27FC236}">
                <a16:creationId xmlns:a16="http://schemas.microsoft.com/office/drawing/2014/main" id="{026F05A9-62F2-1072-DEF7-E2D3C1CCFA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9272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phic 48">
            <a:extLst>
              <a:ext uri="{FF2B5EF4-FFF2-40B4-BE49-F238E27FC236}">
                <a16:creationId xmlns:a16="http://schemas.microsoft.com/office/drawing/2014/main" id="{AB878741-1DDE-727F-6FF4-8FEDBA0B86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9218"/>
          <a:stretch/>
        </p:blipFill>
        <p:spPr>
          <a:xfrm>
            <a:off x="298802" y="-151833"/>
            <a:ext cx="11582404" cy="7009833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18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7E89F54-27F3-0C00-B549-C69B82E2E3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1831" y="2104799"/>
            <a:ext cx="3208338" cy="32083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009F744-C4B3-406C-E3B7-1E6855713E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0413" y="1546251"/>
            <a:ext cx="1615394" cy="161539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EAF0A92-0AE3-C2C2-96BC-9532342B4E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644449" y="1107864"/>
            <a:ext cx="2068580" cy="206858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77C71D49-9AA2-06A5-C63D-CA20EE5F47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56507" y="4484130"/>
            <a:ext cx="1444464" cy="144446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4207B6C8-2BDC-105B-C3E6-41B8949D61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1029" y="4567636"/>
            <a:ext cx="1398308" cy="139830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1302604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fographic style (no lines elem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18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7E89F54-27F3-0C00-B549-C69B82E2E3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1831" y="2104799"/>
            <a:ext cx="3208338" cy="32083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009F744-C4B3-406C-E3B7-1E6855713E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5723" y="1546251"/>
            <a:ext cx="1615394" cy="161539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EAF0A92-0AE3-C2C2-96BC-9532342B4E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80883" y="1561050"/>
            <a:ext cx="1615394" cy="161539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77C71D49-9AA2-06A5-C63D-CA20EE5F47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80883" y="4313201"/>
            <a:ext cx="1615393" cy="161539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4207B6C8-2BDC-105B-C3E6-41B8949D61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95723" y="4313200"/>
            <a:ext cx="1615394" cy="161539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2013711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45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BC49B4-8127-3E3F-2CC0-6AA1CFE2E267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rgbClr val="F7F7F9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6E2EDAE-8A66-0FAE-43A0-E5058E4684CD}"/>
              </a:ext>
            </a:extLst>
          </p:cNvPr>
          <p:cNvSpPr txBox="1"/>
          <p:nvPr userDrawn="1"/>
        </p:nvSpPr>
        <p:spPr>
          <a:xfrm>
            <a:off x="4856205" y="935879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●"/>
            </a:pPr>
            <a:endParaRPr lang="en-US" sz="14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CAC44F1-3C47-BA45-AB36-F695BC2498F6}"/>
              </a:ext>
            </a:extLst>
          </p:cNvPr>
          <p:cNvGrpSpPr/>
          <p:nvPr userDrawn="1"/>
        </p:nvGrpSpPr>
        <p:grpSpPr>
          <a:xfrm rot="10800000">
            <a:off x="4450426" y="-11928"/>
            <a:ext cx="7741574" cy="6869928"/>
            <a:chOff x="-11929" y="-11928"/>
            <a:chExt cx="7179661" cy="6371282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890B1D2-F2D5-D91E-1D25-995F016EC549}"/>
                </a:ext>
              </a:extLst>
            </p:cNvPr>
            <p:cNvSpPr/>
            <p:nvPr/>
          </p:nvSpPr>
          <p:spPr>
            <a:xfrm>
              <a:off x="-11929" y="3249527"/>
              <a:ext cx="6538609" cy="2190000"/>
            </a:xfrm>
            <a:custGeom>
              <a:avLst/>
              <a:gdLst>
                <a:gd name="connsiteX0" fmla="*/ 6538610 w 6538609"/>
                <a:gd name="connsiteY0" fmla="*/ 2190001 h 2190000"/>
                <a:gd name="connsiteX1" fmla="*/ 4287706 w 6538609"/>
                <a:gd name="connsiteY1" fmla="*/ 2190001 h 2190000"/>
                <a:gd name="connsiteX2" fmla="*/ 4002340 w 6538609"/>
                <a:gd name="connsiteY2" fmla="*/ 2071334 h 2190000"/>
                <a:gd name="connsiteX3" fmla="*/ 3885557 w 6538609"/>
                <a:gd name="connsiteY3" fmla="*/ 1785027 h 2190000"/>
                <a:gd name="connsiteX4" fmla="*/ 3895603 w 6538609"/>
                <a:gd name="connsiteY4" fmla="*/ 404974 h 2190000"/>
                <a:gd name="connsiteX5" fmla="*/ 3781017 w 6538609"/>
                <a:gd name="connsiteY5" fmla="*/ 124318 h 2190000"/>
                <a:gd name="connsiteX6" fmla="*/ 3501302 w 6538609"/>
                <a:gd name="connsiteY6" fmla="*/ 7848 h 2190000"/>
                <a:gd name="connsiteX7" fmla="*/ 1303139 w 6538609"/>
                <a:gd name="connsiteY7" fmla="*/ 7848 h 2190000"/>
                <a:gd name="connsiteX8" fmla="*/ 909152 w 6538609"/>
                <a:gd name="connsiteY8" fmla="*/ 399324 h 2190000"/>
                <a:gd name="connsiteX9" fmla="*/ 906640 w 6538609"/>
                <a:gd name="connsiteY9" fmla="*/ 708548 h 2190000"/>
                <a:gd name="connsiteX10" fmla="*/ 1815792 w 6538609"/>
                <a:gd name="connsiteY10" fmla="*/ 708548 h 2190000"/>
                <a:gd name="connsiteX11" fmla="*/ 2217941 w 6538609"/>
                <a:gd name="connsiteY11" fmla="*/ 1111011 h 2190000"/>
                <a:gd name="connsiteX12" fmla="*/ 2217941 w 6538609"/>
                <a:gd name="connsiteY12" fmla="*/ 1787852 h 2190000"/>
                <a:gd name="connsiteX13" fmla="*/ 1815792 w 6538609"/>
                <a:gd name="connsiteY13" fmla="*/ 2190001 h 2190000"/>
                <a:gd name="connsiteX14" fmla="*/ 1293093 w 6538609"/>
                <a:gd name="connsiteY14" fmla="*/ 2190001 h 2190000"/>
                <a:gd name="connsiteX15" fmla="*/ 1007727 w 6538609"/>
                <a:gd name="connsiteY15" fmla="*/ 2071334 h 2190000"/>
                <a:gd name="connsiteX16" fmla="*/ 890944 w 6538609"/>
                <a:gd name="connsiteY16" fmla="*/ 1785027 h 2190000"/>
                <a:gd name="connsiteX17" fmla="*/ 898792 w 6538609"/>
                <a:gd name="connsiteY17" fmla="*/ 716711 h 2190000"/>
                <a:gd name="connsiteX18" fmla="*/ 0 w 6538609"/>
                <a:gd name="connsiteY18" fmla="*/ 716711 h 2190000"/>
                <a:gd name="connsiteX19" fmla="*/ 0 w 6538609"/>
                <a:gd name="connsiteY19" fmla="*/ 708548 h 2190000"/>
                <a:gd name="connsiteX20" fmla="*/ 898792 w 6538609"/>
                <a:gd name="connsiteY20" fmla="*/ 708548 h 2190000"/>
                <a:gd name="connsiteX21" fmla="*/ 900990 w 6538609"/>
                <a:gd name="connsiteY21" fmla="*/ 399010 h 2190000"/>
                <a:gd name="connsiteX22" fmla="*/ 1303139 w 6538609"/>
                <a:gd name="connsiteY22" fmla="*/ 0 h 2190000"/>
                <a:gd name="connsiteX23" fmla="*/ 3501302 w 6538609"/>
                <a:gd name="connsiteY23" fmla="*/ 0 h 2190000"/>
                <a:gd name="connsiteX24" fmla="*/ 3786668 w 6538609"/>
                <a:gd name="connsiteY24" fmla="*/ 118667 h 2190000"/>
                <a:gd name="connsiteX25" fmla="*/ 3903451 w 6538609"/>
                <a:gd name="connsiteY25" fmla="*/ 404974 h 2190000"/>
                <a:gd name="connsiteX26" fmla="*/ 3893405 w 6538609"/>
                <a:gd name="connsiteY26" fmla="*/ 1785027 h 2190000"/>
                <a:gd name="connsiteX27" fmla="*/ 4007991 w 6538609"/>
                <a:gd name="connsiteY27" fmla="*/ 2065683 h 2190000"/>
                <a:gd name="connsiteX28" fmla="*/ 4287706 w 6538609"/>
                <a:gd name="connsiteY28" fmla="*/ 2182153 h 2190000"/>
                <a:gd name="connsiteX29" fmla="*/ 6538610 w 6538609"/>
                <a:gd name="connsiteY29" fmla="*/ 2182153 h 2190000"/>
                <a:gd name="connsiteX30" fmla="*/ 906640 w 6538609"/>
                <a:gd name="connsiteY30" fmla="*/ 716397 h 2190000"/>
                <a:gd name="connsiteX31" fmla="*/ 898792 w 6538609"/>
                <a:gd name="connsiteY31" fmla="*/ 1784713 h 2190000"/>
                <a:gd name="connsiteX32" fmla="*/ 1013378 w 6538609"/>
                <a:gd name="connsiteY32" fmla="*/ 2065369 h 2190000"/>
                <a:gd name="connsiteX33" fmla="*/ 1293093 w 6538609"/>
                <a:gd name="connsiteY33" fmla="*/ 2181839 h 2190000"/>
                <a:gd name="connsiteX34" fmla="*/ 1815792 w 6538609"/>
                <a:gd name="connsiteY34" fmla="*/ 2181839 h 2190000"/>
                <a:gd name="connsiteX35" fmla="*/ 2210093 w 6538609"/>
                <a:gd name="connsiteY35" fmla="*/ 1787852 h 2190000"/>
                <a:gd name="connsiteX36" fmla="*/ 2210093 w 6538609"/>
                <a:gd name="connsiteY36" fmla="*/ 1110697 h 2190000"/>
                <a:gd name="connsiteX37" fmla="*/ 1815792 w 6538609"/>
                <a:gd name="connsiteY37" fmla="*/ 716397 h 21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538609" h="2190000">
                  <a:moveTo>
                    <a:pt x="6538610" y="2190001"/>
                  </a:moveTo>
                  <a:lnTo>
                    <a:pt x="4287706" y="2190001"/>
                  </a:lnTo>
                  <a:cubicBezTo>
                    <a:pt x="4179713" y="2190001"/>
                    <a:pt x="4078312" y="2147934"/>
                    <a:pt x="4002340" y="2071334"/>
                  </a:cubicBezTo>
                  <a:cubicBezTo>
                    <a:pt x="3926054" y="1994734"/>
                    <a:pt x="3884615" y="1893020"/>
                    <a:pt x="3885557" y="1785027"/>
                  </a:cubicBezTo>
                  <a:lnTo>
                    <a:pt x="3895603" y="404974"/>
                  </a:lnTo>
                  <a:cubicBezTo>
                    <a:pt x="3896231" y="299179"/>
                    <a:pt x="3855733" y="199348"/>
                    <a:pt x="3781017" y="124318"/>
                  </a:cubicBezTo>
                  <a:cubicBezTo>
                    <a:pt x="3706615" y="49288"/>
                    <a:pt x="3607098" y="7848"/>
                    <a:pt x="3501302" y="7848"/>
                  </a:cubicBezTo>
                  <a:lnTo>
                    <a:pt x="1303139" y="7848"/>
                  </a:lnTo>
                  <a:cubicBezTo>
                    <a:pt x="1087466" y="7848"/>
                    <a:pt x="910721" y="183337"/>
                    <a:pt x="909152" y="399324"/>
                  </a:cubicBezTo>
                  <a:lnTo>
                    <a:pt x="906640" y="708548"/>
                  </a:lnTo>
                  <a:lnTo>
                    <a:pt x="1815792" y="708548"/>
                  </a:lnTo>
                  <a:cubicBezTo>
                    <a:pt x="2037743" y="708548"/>
                    <a:pt x="2217941" y="889060"/>
                    <a:pt x="2217941" y="1111011"/>
                  </a:cubicBezTo>
                  <a:lnTo>
                    <a:pt x="2217941" y="1787852"/>
                  </a:lnTo>
                  <a:cubicBezTo>
                    <a:pt x="2217941" y="2009489"/>
                    <a:pt x="2037743" y="2190001"/>
                    <a:pt x="1815792" y="2190001"/>
                  </a:cubicBezTo>
                  <a:lnTo>
                    <a:pt x="1293093" y="2190001"/>
                  </a:lnTo>
                  <a:cubicBezTo>
                    <a:pt x="1185100" y="2190001"/>
                    <a:pt x="1083699" y="2147934"/>
                    <a:pt x="1007727" y="2071334"/>
                  </a:cubicBezTo>
                  <a:cubicBezTo>
                    <a:pt x="931755" y="1994734"/>
                    <a:pt x="890002" y="1893020"/>
                    <a:pt x="890944" y="1785027"/>
                  </a:cubicBezTo>
                  <a:lnTo>
                    <a:pt x="898792" y="716711"/>
                  </a:lnTo>
                  <a:lnTo>
                    <a:pt x="0" y="716711"/>
                  </a:lnTo>
                  <a:lnTo>
                    <a:pt x="0" y="708548"/>
                  </a:lnTo>
                  <a:lnTo>
                    <a:pt x="898792" y="708548"/>
                  </a:lnTo>
                  <a:lnTo>
                    <a:pt x="900990" y="399010"/>
                  </a:lnTo>
                  <a:cubicBezTo>
                    <a:pt x="902559" y="178942"/>
                    <a:pt x="1083071" y="0"/>
                    <a:pt x="1303139" y="0"/>
                  </a:cubicBezTo>
                  <a:lnTo>
                    <a:pt x="3501302" y="0"/>
                  </a:lnTo>
                  <a:cubicBezTo>
                    <a:pt x="3609295" y="0"/>
                    <a:pt x="3710696" y="42067"/>
                    <a:pt x="3786668" y="118667"/>
                  </a:cubicBezTo>
                  <a:cubicBezTo>
                    <a:pt x="3862953" y="195267"/>
                    <a:pt x="3904393" y="296981"/>
                    <a:pt x="3903451" y="404974"/>
                  </a:cubicBezTo>
                  <a:lnTo>
                    <a:pt x="3893405" y="1785027"/>
                  </a:lnTo>
                  <a:cubicBezTo>
                    <a:pt x="3892777" y="1890822"/>
                    <a:pt x="3933275" y="1990339"/>
                    <a:pt x="4007991" y="2065683"/>
                  </a:cubicBezTo>
                  <a:cubicBezTo>
                    <a:pt x="4082393" y="2140714"/>
                    <a:pt x="4181910" y="2182153"/>
                    <a:pt x="4287706" y="2182153"/>
                  </a:cubicBezTo>
                  <a:lnTo>
                    <a:pt x="6538610" y="2182153"/>
                  </a:lnTo>
                  <a:close/>
                  <a:moveTo>
                    <a:pt x="906640" y="716397"/>
                  </a:moveTo>
                  <a:lnTo>
                    <a:pt x="898792" y="1784713"/>
                  </a:lnTo>
                  <a:cubicBezTo>
                    <a:pt x="898164" y="1890822"/>
                    <a:pt x="938662" y="1990339"/>
                    <a:pt x="1013378" y="2065369"/>
                  </a:cubicBezTo>
                  <a:cubicBezTo>
                    <a:pt x="1087780" y="2140714"/>
                    <a:pt x="1187297" y="2181839"/>
                    <a:pt x="1293093" y="2181839"/>
                  </a:cubicBezTo>
                  <a:lnTo>
                    <a:pt x="1815792" y="2181839"/>
                  </a:lnTo>
                  <a:cubicBezTo>
                    <a:pt x="2033348" y="2181839"/>
                    <a:pt x="2210093" y="2005094"/>
                    <a:pt x="2210093" y="1787852"/>
                  </a:cubicBezTo>
                  <a:lnTo>
                    <a:pt x="2210093" y="1110697"/>
                  </a:lnTo>
                  <a:cubicBezTo>
                    <a:pt x="2210093" y="893455"/>
                    <a:pt x="2033348" y="716397"/>
                    <a:pt x="1815792" y="71639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11DF946-DADC-61DC-1A7B-C127C3BFD551}"/>
                </a:ext>
              </a:extLst>
            </p:cNvPr>
            <p:cNvSpPr/>
            <p:nvPr/>
          </p:nvSpPr>
          <p:spPr>
            <a:xfrm>
              <a:off x="-11929" y="605265"/>
              <a:ext cx="3006542" cy="5754089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03783D-0A82-B67E-5A31-72C264C7F7E9}"/>
                </a:ext>
              </a:extLst>
            </p:cNvPr>
            <p:cNvSpPr/>
            <p:nvPr/>
          </p:nvSpPr>
          <p:spPr>
            <a:xfrm>
              <a:off x="-11929" y="-11928"/>
              <a:ext cx="2855226" cy="1262327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CB6F77C-736F-5F60-9D52-D6429187DD61}"/>
                </a:ext>
              </a:extLst>
            </p:cNvPr>
            <p:cNvSpPr/>
            <p:nvPr/>
          </p:nvSpPr>
          <p:spPr>
            <a:xfrm>
              <a:off x="1983118" y="-11928"/>
              <a:ext cx="4049743" cy="2321539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2A8C590-06B6-FE84-7683-1CF0218CD405}"/>
                </a:ext>
              </a:extLst>
            </p:cNvPr>
            <p:cNvSpPr/>
            <p:nvPr/>
          </p:nvSpPr>
          <p:spPr>
            <a:xfrm>
              <a:off x="-11929" y="4738829"/>
              <a:ext cx="1572807" cy="162052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D33E660-C8CC-C75F-AEF8-CBAF4EBCC13B}"/>
                </a:ext>
              </a:extLst>
            </p:cNvPr>
            <p:cNvSpPr/>
            <p:nvPr/>
          </p:nvSpPr>
          <p:spPr>
            <a:xfrm>
              <a:off x="5081329" y="-11928"/>
              <a:ext cx="1899298" cy="3436631"/>
            </a:xfrm>
            <a:custGeom>
              <a:avLst/>
              <a:gdLst>
                <a:gd name="connsiteX0" fmla="*/ 1899299 w 1899298"/>
                <a:gd name="connsiteY0" fmla="*/ 3436632 h 3436631"/>
                <a:gd name="connsiteX1" fmla="*/ 402149 w 1899298"/>
                <a:gd name="connsiteY1" fmla="*/ 3436632 h 3436631"/>
                <a:gd name="connsiteX2" fmla="*/ 0 w 1899298"/>
                <a:gd name="connsiteY2" fmla="*/ 3034483 h 3436631"/>
                <a:gd name="connsiteX3" fmla="*/ 0 w 1899298"/>
                <a:gd name="connsiteY3" fmla="*/ 0 h 3436631"/>
                <a:gd name="connsiteX4" fmla="*/ 7848 w 1899298"/>
                <a:gd name="connsiteY4" fmla="*/ 0 h 3436631"/>
                <a:gd name="connsiteX5" fmla="*/ 7848 w 1899298"/>
                <a:gd name="connsiteY5" fmla="*/ 3034483 h 3436631"/>
                <a:gd name="connsiteX6" fmla="*/ 402149 w 1899298"/>
                <a:gd name="connsiteY6" fmla="*/ 3428469 h 3436631"/>
                <a:gd name="connsiteX7" fmla="*/ 1899299 w 1899298"/>
                <a:gd name="connsiteY7" fmla="*/ 3428469 h 343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9298" h="3436631">
                  <a:moveTo>
                    <a:pt x="1899299" y="3436632"/>
                  </a:moveTo>
                  <a:lnTo>
                    <a:pt x="402149" y="3436632"/>
                  </a:lnTo>
                  <a:cubicBezTo>
                    <a:pt x="180198" y="3436632"/>
                    <a:pt x="0" y="3256120"/>
                    <a:pt x="0" y="3034483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034483"/>
                  </a:lnTo>
                  <a:cubicBezTo>
                    <a:pt x="7848" y="3251725"/>
                    <a:pt x="184593" y="3428469"/>
                    <a:pt x="402149" y="3428469"/>
                  </a:cubicBezTo>
                  <a:lnTo>
                    <a:pt x="1899299" y="342846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91CCF4-94B5-6845-D0BD-6429715D5131}"/>
                </a:ext>
              </a:extLst>
            </p:cNvPr>
            <p:cNvSpPr/>
            <p:nvPr/>
          </p:nvSpPr>
          <p:spPr>
            <a:xfrm>
              <a:off x="3607725" y="-11928"/>
              <a:ext cx="3508208" cy="1501230"/>
            </a:xfrm>
            <a:custGeom>
              <a:avLst/>
              <a:gdLst>
                <a:gd name="connsiteX0" fmla="*/ 3508209 w 3508208"/>
                <a:gd name="connsiteY0" fmla="*/ 1501231 h 1501230"/>
                <a:gd name="connsiteX1" fmla="*/ 402149 w 3508208"/>
                <a:gd name="connsiteY1" fmla="*/ 1501231 h 1501230"/>
                <a:gd name="connsiteX2" fmla="*/ 0 w 3508208"/>
                <a:gd name="connsiteY2" fmla="*/ 1099082 h 1501230"/>
                <a:gd name="connsiteX3" fmla="*/ 0 w 3508208"/>
                <a:gd name="connsiteY3" fmla="*/ 0 h 1501230"/>
                <a:gd name="connsiteX4" fmla="*/ 8163 w 3508208"/>
                <a:gd name="connsiteY4" fmla="*/ 0 h 1501230"/>
                <a:gd name="connsiteX5" fmla="*/ 8163 w 3508208"/>
                <a:gd name="connsiteY5" fmla="*/ 1099082 h 1501230"/>
                <a:gd name="connsiteX6" fmla="*/ 402149 w 3508208"/>
                <a:gd name="connsiteY6" fmla="*/ 1493382 h 1501230"/>
                <a:gd name="connsiteX7" fmla="*/ 3508209 w 3508208"/>
                <a:gd name="connsiteY7" fmla="*/ 1493382 h 150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08208" h="1501230">
                  <a:moveTo>
                    <a:pt x="3508209" y="1501231"/>
                  </a:moveTo>
                  <a:lnTo>
                    <a:pt x="402149" y="1501231"/>
                  </a:lnTo>
                  <a:cubicBezTo>
                    <a:pt x="180512" y="1501231"/>
                    <a:pt x="0" y="1320719"/>
                    <a:pt x="0" y="1099082"/>
                  </a:cubicBezTo>
                  <a:lnTo>
                    <a:pt x="0" y="0"/>
                  </a:lnTo>
                  <a:lnTo>
                    <a:pt x="8163" y="0"/>
                  </a:lnTo>
                  <a:lnTo>
                    <a:pt x="8163" y="1099082"/>
                  </a:lnTo>
                  <a:cubicBezTo>
                    <a:pt x="8163" y="1316324"/>
                    <a:pt x="184907" y="1493382"/>
                    <a:pt x="402149" y="1493382"/>
                  </a:cubicBezTo>
                  <a:lnTo>
                    <a:pt x="3508209" y="14933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ED368A1-8BAA-6190-0387-B110CB9A6020}"/>
                </a:ext>
              </a:extLst>
            </p:cNvPr>
            <p:cNvSpPr/>
            <p:nvPr/>
          </p:nvSpPr>
          <p:spPr>
            <a:xfrm>
              <a:off x="-11929" y="2556676"/>
              <a:ext cx="1903379" cy="7848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160C578-9939-D657-82C6-91E8BD3CF9A9}"/>
                </a:ext>
              </a:extLst>
            </p:cNvPr>
            <p:cNvSpPr/>
            <p:nvPr/>
          </p:nvSpPr>
          <p:spPr>
            <a:xfrm>
              <a:off x="5981063" y="226189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238295-6276-47A2-2973-57F18244B1E5}"/>
                </a:ext>
              </a:extLst>
            </p:cNvPr>
            <p:cNvSpPr/>
            <p:nvPr/>
          </p:nvSpPr>
          <p:spPr>
            <a:xfrm>
              <a:off x="5049308" y="1115093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ED71CC1-1AF1-CC89-431C-10B352FC1B65}"/>
                </a:ext>
              </a:extLst>
            </p:cNvPr>
            <p:cNvSpPr/>
            <p:nvPr/>
          </p:nvSpPr>
          <p:spPr>
            <a:xfrm>
              <a:off x="5049308" y="1361845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9 w 71576"/>
                <a:gd name="connsiteY1" fmla="*/ 71577 h 71576"/>
                <a:gd name="connsiteX2" fmla="*/ 0 w 71576"/>
                <a:gd name="connsiteY2" fmla="*/ 35789 h 71576"/>
                <a:gd name="connsiteX3" fmla="*/ 35789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3DBF3C-866F-1591-E1F6-13A79049E9AD}"/>
                </a:ext>
              </a:extLst>
            </p:cNvPr>
            <p:cNvSpPr/>
            <p:nvPr/>
          </p:nvSpPr>
          <p:spPr>
            <a:xfrm>
              <a:off x="5997074" y="1449432"/>
              <a:ext cx="71576" cy="71890"/>
            </a:xfrm>
            <a:custGeom>
              <a:avLst/>
              <a:gdLst>
                <a:gd name="connsiteX0" fmla="*/ 71577 w 71576"/>
                <a:gd name="connsiteY0" fmla="*/ 35788 h 71890"/>
                <a:gd name="connsiteX1" fmla="*/ 35788 w 71576"/>
                <a:gd name="connsiteY1" fmla="*/ 71891 h 71890"/>
                <a:gd name="connsiteX2" fmla="*/ 0 w 71576"/>
                <a:gd name="connsiteY2" fmla="*/ 35788 h 71890"/>
                <a:gd name="connsiteX3" fmla="*/ 35788 w 71576"/>
                <a:gd name="connsiteY3" fmla="*/ 0 h 71890"/>
                <a:gd name="connsiteX4" fmla="*/ 71577 w 71576"/>
                <a:gd name="connsiteY4" fmla="*/ 35788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5788"/>
                  </a:moveTo>
                  <a:cubicBezTo>
                    <a:pt x="71577" y="55566"/>
                    <a:pt x="55566" y="71891"/>
                    <a:pt x="35788" y="71891"/>
                  </a:cubicBezTo>
                  <a:cubicBezTo>
                    <a:pt x="16011" y="71891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9299227-60D7-5FF0-5CD5-11AED4AB82AE}"/>
                </a:ext>
              </a:extLst>
            </p:cNvPr>
            <p:cNvSpPr/>
            <p:nvPr/>
          </p:nvSpPr>
          <p:spPr>
            <a:xfrm>
              <a:off x="5328081" y="2269741"/>
              <a:ext cx="71577" cy="71890"/>
            </a:xfrm>
            <a:custGeom>
              <a:avLst/>
              <a:gdLst>
                <a:gd name="connsiteX0" fmla="*/ 71577 w 71577"/>
                <a:gd name="connsiteY0" fmla="*/ 35789 h 71890"/>
                <a:gd name="connsiteX1" fmla="*/ 35789 w 71577"/>
                <a:gd name="connsiteY1" fmla="*/ 71891 h 71890"/>
                <a:gd name="connsiteX2" fmla="*/ 0 w 71577"/>
                <a:gd name="connsiteY2" fmla="*/ 35789 h 71890"/>
                <a:gd name="connsiteX3" fmla="*/ 35789 w 71577"/>
                <a:gd name="connsiteY3" fmla="*/ 0 h 71890"/>
                <a:gd name="connsiteX4" fmla="*/ 71577 w 71577"/>
                <a:gd name="connsiteY4" fmla="*/ 35789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5789"/>
                  </a:moveTo>
                  <a:cubicBezTo>
                    <a:pt x="71577" y="55566"/>
                    <a:pt x="55566" y="71891"/>
                    <a:pt x="35789" y="71891"/>
                  </a:cubicBezTo>
                  <a:cubicBezTo>
                    <a:pt x="16011" y="71891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7C497D2-6ADE-61C1-D745-EAFCCE6B84A8}"/>
                </a:ext>
              </a:extLst>
            </p:cNvPr>
            <p:cNvSpPr/>
            <p:nvPr/>
          </p:nvSpPr>
          <p:spPr>
            <a:xfrm>
              <a:off x="3145928" y="700700"/>
              <a:ext cx="71577" cy="71890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B6FA-AA81-960C-1813-3E7314A09BAA}"/>
                </a:ext>
              </a:extLst>
            </p:cNvPr>
            <p:cNvSpPr/>
            <p:nvPr/>
          </p:nvSpPr>
          <p:spPr>
            <a:xfrm>
              <a:off x="1680486" y="1210529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D73C5C0-A3B5-F7CA-EE4A-C593BF62EC32}"/>
                </a:ext>
              </a:extLst>
            </p:cNvPr>
            <p:cNvSpPr/>
            <p:nvPr/>
          </p:nvSpPr>
          <p:spPr>
            <a:xfrm>
              <a:off x="2954743" y="2668122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C70AFAE-2B7F-8C72-CF06-B081AA09B814}"/>
                </a:ext>
              </a:extLst>
            </p:cNvPr>
            <p:cNvSpPr/>
            <p:nvPr/>
          </p:nvSpPr>
          <p:spPr>
            <a:xfrm>
              <a:off x="788601" y="2524655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98CAF63-2340-F1EB-E059-6C327111C811}"/>
                </a:ext>
              </a:extLst>
            </p:cNvPr>
            <p:cNvSpPr/>
            <p:nvPr/>
          </p:nvSpPr>
          <p:spPr>
            <a:xfrm>
              <a:off x="2954743" y="2914874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C69115D-9676-CC79-E169-943A00E19B04}"/>
                </a:ext>
              </a:extLst>
            </p:cNvPr>
            <p:cNvSpPr/>
            <p:nvPr/>
          </p:nvSpPr>
          <p:spPr>
            <a:xfrm>
              <a:off x="2166142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6102 w 71890"/>
                <a:gd name="connsiteY1" fmla="*/ 71577 h 71576"/>
                <a:gd name="connsiteX2" fmla="*/ 0 w 71890"/>
                <a:gd name="connsiteY2" fmla="*/ 35789 h 71576"/>
                <a:gd name="connsiteX3" fmla="*/ 36102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6102" y="71577"/>
                  </a:cubicBezTo>
                  <a:cubicBezTo>
                    <a:pt x="16325" y="71577"/>
                    <a:pt x="0" y="55566"/>
                    <a:pt x="0" y="35789"/>
                  </a:cubicBezTo>
                  <a:cubicBezTo>
                    <a:pt x="0" y="16011"/>
                    <a:pt x="16325" y="0"/>
                    <a:pt x="36102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FDD8988-4070-AF4A-64A5-6F4A133F1300}"/>
                </a:ext>
              </a:extLst>
            </p:cNvPr>
            <p:cNvSpPr/>
            <p:nvPr/>
          </p:nvSpPr>
          <p:spPr>
            <a:xfrm>
              <a:off x="3846629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5788 w 71890"/>
                <a:gd name="connsiteY1" fmla="*/ 71577 h 71576"/>
                <a:gd name="connsiteX2" fmla="*/ 0 w 71890"/>
                <a:gd name="connsiteY2" fmla="*/ 35789 h 71576"/>
                <a:gd name="connsiteX3" fmla="*/ 35788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70A3F16-E763-ADC8-7CDC-3796ED0AE044}"/>
                </a:ext>
              </a:extLst>
            </p:cNvPr>
            <p:cNvSpPr/>
            <p:nvPr/>
          </p:nvSpPr>
          <p:spPr>
            <a:xfrm>
              <a:off x="1521322" y="5789879"/>
              <a:ext cx="71576" cy="71890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2A947C9-2E54-79ED-3F2E-B2A5A326F4AD}"/>
                </a:ext>
              </a:extLst>
            </p:cNvPr>
            <p:cNvSpPr/>
            <p:nvPr/>
          </p:nvSpPr>
          <p:spPr>
            <a:xfrm>
              <a:off x="1839651" y="2508644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7FC6214-796E-2A34-71F5-83058E48EF7D}"/>
                </a:ext>
              </a:extLst>
            </p:cNvPr>
            <p:cNvSpPr/>
            <p:nvPr/>
          </p:nvSpPr>
          <p:spPr>
            <a:xfrm>
              <a:off x="7064134" y="143342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2" y="103598"/>
                    <a:pt x="0" y="80367"/>
                    <a:pt x="0" y="51799"/>
                  </a:cubicBezTo>
                  <a:cubicBezTo>
                    <a:pt x="0" y="23231"/>
                    <a:pt x="23232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10E657D-0EB5-1581-1E43-34350B2AD9F7}"/>
                </a:ext>
              </a:extLst>
            </p:cNvPr>
            <p:cNvSpPr/>
            <p:nvPr/>
          </p:nvSpPr>
          <p:spPr>
            <a:xfrm>
              <a:off x="6928829" y="336882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ADD1D0E-159C-F019-14E3-BC88A38CABEC}"/>
                </a:ext>
              </a:extLst>
            </p:cNvPr>
            <p:cNvSpPr/>
            <p:nvPr userDrawn="1"/>
          </p:nvSpPr>
          <p:spPr>
            <a:xfrm>
              <a:off x="6474881" y="538817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46" name="Picture 45" descr="Logo&#10;&#10;Description automatically generated with medium confidence">
            <a:extLst>
              <a:ext uri="{FF2B5EF4-FFF2-40B4-BE49-F238E27FC236}">
                <a16:creationId xmlns:a16="http://schemas.microsoft.com/office/drawing/2014/main" id="{83110F12-1103-A3D5-2E0C-4E52D007D7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417" t="35751" r="39688" b="21499"/>
          <a:stretch/>
        </p:blipFill>
        <p:spPr>
          <a:xfrm>
            <a:off x="304798" y="1194489"/>
            <a:ext cx="7865820" cy="4686603"/>
          </a:xfrm>
          <a:prstGeom prst="rect">
            <a:avLst/>
          </a:prstGeom>
        </p:spPr>
      </p:pic>
      <p:sp>
        <p:nvSpPr>
          <p:cNvPr id="47" name="Rectangle: Top Corners Rounded 1">
            <a:extLst>
              <a:ext uri="{FF2B5EF4-FFF2-40B4-BE49-F238E27FC236}">
                <a16:creationId xmlns:a16="http://schemas.microsoft.com/office/drawing/2014/main" id="{CC128095-67FB-5388-A7C9-D2930D36E034}"/>
              </a:ext>
            </a:extLst>
          </p:cNvPr>
          <p:cNvSpPr/>
          <p:nvPr userDrawn="1"/>
        </p:nvSpPr>
        <p:spPr>
          <a:xfrm>
            <a:off x="1081200" y="1435916"/>
            <a:ext cx="6337300" cy="4184254"/>
          </a:xfrm>
          <a:prstGeom prst="round2SameRect">
            <a:avLst>
              <a:gd name="adj1" fmla="val 3334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0B5CD4C-89C0-0AC2-E86F-A9218DA1C229}"/>
              </a:ext>
            </a:extLst>
          </p:cNvPr>
          <p:cNvSpPr/>
          <p:nvPr userDrawn="1"/>
        </p:nvSpPr>
        <p:spPr>
          <a:xfrm>
            <a:off x="1258151" y="1632766"/>
            <a:ext cx="5983398" cy="3831828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53" name="Picture Placeholder 48">
            <a:extLst>
              <a:ext uri="{FF2B5EF4-FFF2-40B4-BE49-F238E27FC236}">
                <a16:creationId xmlns:a16="http://schemas.microsoft.com/office/drawing/2014/main" id="{9CEFD16C-8C5E-F633-F1D0-FDAF6574248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258261" y="1633538"/>
            <a:ext cx="5983287" cy="3831056"/>
          </a:xfrm>
          <a:solidFill>
            <a:schemeClr val="bg1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54" name="Text Placeholder 41">
            <a:extLst>
              <a:ext uri="{FF2B5EF4-FFF2-40B4-BE49-F238E27FC236}">
                <a16:creationId xmlns:a16="http://schemas.microsoft.com/office/drawing/2014/main" id="{A4F2736C-ED14-57DB-CEDA-938A06854D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40138" y="2111619"/>
            <a:ext cx="1170000" cy="1008000"/>
          </a:xfrm>
          <a:prstGeom prst="hexagon">
            <a:avLst/>
          </a:prstGeom>
          <a:solidFill>
            <a:schemeClr val="accent4"/>
          </a:solidFill>
          <a:ln w="174625" cap="rnd">
            <a:solidFill>
              <a:schemeClr val="accent4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  <p:sp>
        <p:nvSpPr>
          <p:cNvPr id="55" name="Text Placeholder 41">
            <a:extLst>
              <a:ext uri="{FF2B5EF4-FFF2-40B4-BE49-F238E27FC236}">
                <a16:creationId xmlns:a16="http://schemas.microsoft.com/office/drawing/2014/main" id="{6C45B5C9-907D-7667-C895-4BDB5290CA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93138" y="3357500"/>
            <a:ext cx="864000" cy="745200"/>
          </a:xfrm>
          <a:prstGeom prst="hexagon">
            <a:avLst/>
          </a:prstGeom>
          <a:solidFill>
            <a:schemeClr val="accent5"/>
          </a:solidFill>
          <a:ln w="174625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  <p:sp>
        <p:nvSpPr>
          <p:cNvPr id="56" name="Text Placeholder 41">
            <a:extLst>
              <a:ext uri="{FF2B5EF4-FFF2-40B4-BE49-F238E27FC236}">
                <a16:creationId xmlns:a16="http://schemas.microsoft.com/office/drawing/2014/main" id="{D5D6B92F-CDBE-0CCD-080D-58211B1A78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0338" y="4340581"/>
            <a:ext cx="669600" cy="576000"/>
          </a:xfrm>
          <a:prstGeom prst="hexagon">
            <a:avLst/>
          </a:prstGeom>
          <a:solidFill>
            <a:schemeClr val="accent3"/>
          </a:solidFill>
          <a:ln w="174625" cap="rnd">
            <a:solidFill>
              <a:schemeClr val="accent3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000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856932"/>
      </p:ext>
    </p:extLst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fographic style (no lines elem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45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BC49B4-8127-3E3F-2CC0-6AA1CFE2E267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rgbClr val="F7F7F9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6E2EDAE-8A66-0FAE-43A0-E5058E4684CD}"/>
              </a:ext>
            </a:extLst>
          </p:cNvPr>
          <p:cNvSpPr txBox="1"/>
          <p:nvPr userDrawn="1"/>
        </p:nvSpPr>
        <p:spPr>
          <a:xfrm>
            <a:off x="4856205" y="935879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●"/>
            </a:pPr>
            <a:endParaRPr lang="en-US" sz="1400" dirty="0"/>
          </a:p>
        </p:txBody>
      </p:sp>
      <p:pic>
        <p:nvPicPr>
          <p:cNvPr id="46" name="Picture 45" descr="Logo&#10;&#10;Description automatically generated with medium confidence">
            <a:extLst>
              <a:ext uri="{FF2B5EF4-FFF2-40B4-BE49-F238E27FC236}">
                <a16:creationId xmlns:a16="http://schemas.microsoft.com/office/drawing/2014/main" id="{83110F12-1103-A3D5-2E0C-4E52D007D7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417" t="35751" r="39688" b="21499"/>
          <a:stretch/>
        </p:blipFill>
        <p:spPr>
          <a:xfrm>
            <a:off x="1934490" y="1194489"/>
            <a:ext cx="7865820" cy="4686603"/>
          </a:xfrm>
          <a:prstGeom prst="rect">
            <a:avLst/>
          </a:prstGeom>
        </p:spPr>
      </p:pic>
      <p:sp>
        <p:nvSpPr>
          <p:cNvPr id="47" name="Rectangle: Top Corners Rounded 1">
            <a:extLst>
              <a:ext uri="{FF2B5EF4-FFF2-40B4-BE49-F238E27FC236}">
                <a16:creationId xmlns:a16="http://schemas.microsoft.com/office/drawing/2014/main" id="{CC128095-67FB-5388-A7C9-D2930D36E034}"/>
              </a:ext>
            </a:extLst>
          </p:cNvPr>
          <p:cNvSpPr/>
          <p:nvPr userDrawn="1"/>
        </p:nvSpPr>
        <p:spPr>
          <a:xfrm>
            <a:off x="2710892" y="1435916"/>
            <a:ext cx="6337300" cy="4184254"/>
          </a:xfrm>
          <a:prstGeom prst="round2SameRect">
            <a:avLst>
              <a:gd name="adj1" fmla="val 3334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0B5CD4C-89C0-0AC2-E86F-A9218DA1C229}"/>
              </a:ext>
            </a:extLst>
          </p:cNvPr>
          <p:cNvSpPr/>
          <p:nvPr userDrawn="1"/>
        </p:nvSpPr>
        <p:spPr>
          <a:xfrm>
            <a:off x="2887843" y="1632766"/>
            <a:ext cx="5983398" cy="3831828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 dirty="0"/>
          </a:p>
        </p:txBody>
      </p:sp>
      <p:sp>
        <p:nvSpPr>
          <p:cNvPr id="53" name="Picture Placeholder 48">
            <a:extLst>
              <a:ext uri="{FF2B5EF4-FFF2-40B4-BE49-F238E27FC236}">
                <a16:creationId xmlns:a16="http://schemas.microsoft.com/office/drawing/2014/main" id="{9CEFD16C-8C5E-F633-F1D0-FDAF6574248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87953" y="1633538"/>
            <a:ext cx="5983287" cy="3831056"/>
          </a:xfrm>
          <a:solidFill>
            <a:schemeClr val="bg1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54" name="Text Placeholder 41">
            <a:extLst>
              <a:ext uri="{FF2B5EF4-FFF2-40B4-BE49-F238E27FC236}">
                <a16:creationId xmlns:a16="http://schemas.microsoft.com/office/drawing/2014/main" id="{A4F2736C-ED14-57DB-CEDA-938A06854D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69830" y="2111619"/>
            <a:ext cx="1170000" cy="1008000"/>
          </a:xfrm>
          <a:prstGeom prst="hexagon">
            <a:avLst/>
          </a:prstGeom>
          <a:solidFill>
            <a:schemeClr val="accent4"/>
          </a:solidFill>
          <a:ln w="174625" cap="rnd">
            <a:solidFill>
              <a:schemeClr val="accent4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  <p:sp>
        <p:nvSpPr>
          <p:cNvPr id="55" name="Text Placeholder 41">
            <a:extLst>
              <a:ext uri="{FF2B5EF4-FFF2-40B4-BE49-F238E27FC236}">
                <a16:creationId xmlns:a16="http://schemas.microsoft.com/office/drawing/2014/main" id="{6C45B5C9-907D-7667-C895-4BDB5290CA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22830" y="3357500"/>
            <a:ext cx="864000" cy="745200"/>
          </a:xfrm>
          <a:prstGeom prst="hexagon">
            <a:avLst/>
          </a:prstGeom>
          <a:solidFill>
            <a:schemeClr val="accent5"/>
          </a:solidFill>
          <a:ln w="174625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  <p:sp>
        <p:nvSpPr>
          <p:cNvPr id="56" name="Text Placeholder 41">
            <a:extLst>
              <a:ext uri="{FF2B5EF4-FFF2-40B4-BE49-F238E27FC236}">
                <a16:creationId xmlns:a16="http://schemas.microsoft.com/office/drawing/2014/main" id="{D5D6B92F-CDBE-0CCD-080D-58211B1A78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20030" y="4340581"/>
            <a:ext cx="669600" cy="576000"/>
          </a:xfrm>
          <a:prstGeom prst="hexagon">
            <a:avLst/>
          </a:prstGeom>
          <a:solidFill>
            <a:schemeClr val="accent3"/>
          </a:solidFill>
          <a:ln w="174625" cap="rnd">
            <a:solidFill>
              <a:schemeClr val="accent3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000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023123"/>
      </p:ext>
    </p:extLst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564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5" name="Group 124">
            <a:extLst>
              <a:ext uri="{FF2B5EF4-FFF2-40B4-BE49-F238E27FC236}">
                <a16:creationId xmlns:a16="http://schemas.microsoft.com/office/drawing/2014/main" id="{3E90573F-91BC-A226-4D38-1300A235D1D9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4E1DCD00-A355-EDD8-B8AF-8ADBE881DC22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85DD8AF7-7EB3-13DC-6D8D-245AA1158528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B3130A8D-6328-2D2C-C20D-5BEE359DEA16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68B1434-2C4F-B679-EFEA-CCC8256070DA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63E2000-7B4C-1F04-7FC4-473B6CB1C84D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8908D61-D382-33E3-4ABF-3142D8616581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A27A173A-6608-BE6E-3AF6-F433136ABB81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52413F3C-DF38-1649-06C7-0309982421E6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A5C0302-67B9-5637-8115-016A1AD7A46A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D87A25C-19A6-82ED-61D5-6E86BE69A48A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C154874-0CBD-C5B8-5AB0-32DE9D9EEF62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947A5F6-264C-CCEF-3E2E-FF1D483F002C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40C7E94B-E0D9-FB45-DE42-2FFB3107B879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7E109501-0827-56A6-C2C8-5D52FCB411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966424"/>
            <a:ext cx="2161627" cy="3539846"/>
          </a:xfrm>
          <a:prstGeom prst="roundRect">
            <a:avLst/>
          </a:prstGeom>
          <a:solidFill>
            <a:schemeClr val="accent2"/>
          </a:solidFill>
        </p:spPr>
        <p:txBody>
          <a:bodyPr wrap="square" lIns="108000" tIns="972000" rIns="108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9D238100-4391-E493-4B5F-0AD7802E3D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9992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497FFC05-B5C2-94C2-86EF-050EC9059F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15186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8203DEB2-F8EC-6EAF-26ED-2D84E198C5A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70380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5" name="Text Placeholder 15">
            <a:extLst>
              <a:ext uri="{FF2B5EF4-FFF2-40B4-BE49-F238E27FC236}">
                <a16:creationId xmlns:a16="http://schemas.microsoft.com/office/drawing/2014/main" id="{F48D19A0-817C-6C56-4AEE-7E700FE91A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25574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0240402"/>
      </p:ext>
    </p:extLst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7E109501-0827-56A6-C2C8-5D52FCB411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966424"/>
            <a:ext cx="2161627" cy="3539846"/>
          </a:xfrm>
          <a:prstGeom prst="roundRect">
            <a:avLst/>
          </a:prstGeom>
          <a:solidFill>
            <a:schemeClr val="accent2"/>
          </a:solidFill>
        </p:spPr>
        <p:txBody>
          <a:bodyPr wrap="square" lIns="108000" tIns="972000" rIns="108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9D238100-4391-E493-4B5F-0AD7802E3D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9992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497FFC05-B5C2-94C2-86EF-050EC9059F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15186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8203DEB2-F8EC-6EAF-26ED-2D84E198C5A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70380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A7758B34-978E-0716-2A09-B9E6CCB8C4E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725575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1238034"/>
      </p:ext>
    </p:extLst>
  </p:cSld>
  <p:clrMapOvr>
    <a:masterClrMapping/>
  </p:clrMapOvr>
  <p:transition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83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5E5CFCE9-DE4A-ABB8-4201-21BD1C7351F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234940"/>
            <a:ext cx="5688000" cy="28944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</p:spPr>
        <p:txBody>
          <a:bodyPr lIns="1080000" tIns="360000" rIns="1080000" bIns="36000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98109A41-70D4-2F10-01F3-7DA6D11A9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2098" y="3279182"/>
            <a:ext cx="5688000" cy="2894400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lIns="1080000" tIns="360000" rIns="1080000" bIns="360000"/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9" name="Text Placeholder 32">
            <a:extLst>
              <a:ext uri="{FF2B5EF4-FFF2-40B4-BE49-F238E27FC236}">
                <a16:creationId xmlns:a16="http://schemas.microsoft.com/office/drawing/2014/main" id="{618DEE45-2B99-1FEE-D2C4-97F4FAF1B8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9714" y="239159"/>
            <a:ext cx="5688000" cy="2894400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lIns="1080000" tIns="360000" rIns="1080000" bIns="360000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D14BDF0D-07D5-2F3A-0435-A85A556E6F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17012" y="3283401"/>
            <a:ext cx="5688000" cy="28944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lIns="1080000" tIns="360000" rIns="1080000" bIns="360000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3414DEC0-2C8C-4A18-2F1A-1AE57984C4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62766" y="1593647"/>
            <a:ext cx="3265208" cy="3265208"/>
          </a:xfrm>
          <a:prstGeom prst="ellipse">
            <a:avLst/>
          </a:prstGeom>
          <a:solidFill>
            <a:schemeClr val="bg1">
              <a:alpha val="50000"/>
            </a:schemeClr>
          </a:solidFill>
        </p:spPr>
        <p:txBody>
          <a:bodyPr lIns="360000" rIns="360000" anchor="ctr"/>
          <a:lstStyle>
            <a:lvl1pPr algn="ctr">
              <a:defRPr sz="2800" b="1">
                <a:solidFill>
                  <a:schemeClr val="tx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67376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D5330D33-25F1-0621-9D82-2E11CF961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8592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D5330D33-25F1-0621-9D82-2E11CF961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725EB9F-66CE-9863-DDE8-E27183BB5B1E}"/>
              </a:ext>
            </a:extLst>
          </p:cNvPr>
          <p:cNvSpPr/>
          <p:nvPr/>
        </p:nvSpPr>
        <p:spPr>
          <a:xfrm>
            <a:off x="1" y="2315833"/>
            <a:ext cx="2226336" cy="2226336"/>
          </a:xfrm>
          <a:custGeom>
            <a:avLst/>
            <a:gdLst>
              <a:gd name="connsiteX0" fmla="*/ 1608779 w 3217559"/>
              <a:gd name="connsiteY0" fmla="*/ 3217559 h 3217559"/>
              <a:gd name="connsiteX1" fmla="*/ 1 w 3217559"/>
              <a:gd name="connsiteY1" fmla="*/ 3217559 h 3217559"/>
              <a:gd name="connsiteX2" fmla="*/ 1 w 3217559"/>
              <a:gd name="connsiteY2" fmla="*/ 1608798 h 3217559"/>
              <a:gd name="connsiteX3" fmla="*/ 0 w 3217559"/>
              <a:gd name="connsiteY3" fmla="*/ 1608779 h 3217559"/>
              <a:gd name="connsiteX4" fmla="*/ 1 w 3217559"/>
              <a:gd name="connsiteY4" fmla="*/ 1608779 h 3217559"/>
              <a:gd name="connsiteX5" fmla="*/ 1608780 w 3217559"/>
              <a:gd name="connsiteY5" fmla="*/ 0 h 3217559"/>
              <a:gd name="connsiteX6" fmla="*/ 3217558 w 3217559"/>
              <a:gd name="connsiteY6" fmla="*/ 0 h 3217559"/>
              <a:gd name="connsiteX7" fmla="*/ 3217558 w 3217559"/>
              <a:gd name="connsiteY7" fmla="*/ 1608760 h 3217559"/>
              <a:gd name="connsiteX8" fmla="*/ 3217559 w 3217559"/>
              <a:gd name="connsiteY8" fmla="*/ 1608780 h 3217559"/>
              <a:gd name="connsiteX9" fmla="*/ 3217558 w 3217559"/>
              <a:gd name="connsiteY9" fmla="*/ 1608780 h 3217559"/>
              <a:gd name="connsiteX10" fmla="*/ 1608779 w 3217559"/>
              <a:gd name="connsiteY10" fmla="*/ 3217559 h 321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9">
                <a:moveTo>
                  <a:pt x="1608779" y="3217559"/>
                </a:moveTo>
                <a:lnTo>
                  <a:pt x="1" y="3217559"/>
                </a:lnTo>
                <a:lnTo>
                  <a:pt x="1" y="1608798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60"/>
                </a:lnTo>
                <a:lnTo>
                  <a:pt x="3217559" y="1608780"/>
                </a:lnTo>
                <a:lnTo>
                  <a:pt x="3217558" y="1608780"/>
                </a:lnTo>
                <a:cubicBezTo>
                  <a:pt x="3217558" y="2497284"/>
                  <a:pt x="2497283" y="3217559"/>
                  <a:pt x="1608779" y="321755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249B4-7789-44E0-AFE4-476C83B11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54806" y="2773354"/>
            <a:ext cx="6982680" cy="1429658"/>
          </a:xfrm>
        </p:spPr>
        <p:txBody>
          <a:bodyPr vert="horz" anchor="ctr"/>
          <a:lstStyle>
            <a:lvl1pPr>
              <a:defRPr sz="4000"/>
            </a:lvl1pPr>
          </a:lstStyle>
          <a:p>
            <a:r>
              <a:rPr lang="hr-BA"/>
              <a:t>Thank you!</a:t>
            </a:r>
            <a:endParaRPr lang="en-GB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011FFD4-C986-99CF-C243-C6DA38E6E838}"/>
              </a:ext>
            </a:extLst>
          </p:cNvPr>
          <p:cNvGrpSpPr/>
          <p:nvPr/>
        </p:nvGrpSpPr>
        <p:grpSpPr>
          <a:xfrm flipH="1">
            <a:off x="7804227" y="2232760"/>
            <a:ext cx="4413473" cy="2341442"/>
            <a:chOff x="7619719" y="2245130"/>
            <a:chExt cx="4414211" cy="2341442"/>
          </a:xfrm>
          <a:noFill/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BEB560-3783-7D00-5490-5E5FD16C1E32}"/>
                </a:ext>
              </a:extLst>
            </p:cNvPr>
            <p:cNvGrpSpPr/>
            <p:nvPr userDrawn="1"/>
          </p:nvGrpSpPr>
          <p:grpSpPr>
            <a:xfrm>
              <a:off x="7642044" y="2322588"/>
              <a:ext cx="4236971" cy="2263984"/>
              <a:chOff x="7642044" y="2322588"/>
              <a:chExt cx="4236971" cy="2263984"/>
            </a:xfrm>
            <a:grpFill/>
          </p:grpSpPr>
          <p:sp>
            <p:nvSpPr>
              <p:cNvPr id="77" name="Arc 76">
                <a:extLst>
                  <a:ext uri="{FF2B5EF4-FFF2-40B4-BE49-F238E27FC236}">
                    <a16:creationId xmlns:a16="http://schemas.microsoft.com/office/drawing/2014/main" id="{87B2DEF1-844B-F2A1-9F2D-AC79ADBEDC22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DB8D83BE-1523-80CD-F759-8E24B8A16EC2}"/>
                  </a:ext>
                </a:extLst>
              </p:cNvPr>
              <p:cNvCxnSpPr>
                <a:cxnSpLocks/>
                <a:stCxn id="71" idx="2"/>
              </p:cNvCxnSpPr>
              <p:nvPr userDrawn="1"/>
            </p:nvCxnSpPr>
            <p:spPr>
              <a:xfrm flipH="1">
                <a:off x="8757578" y="2322588"/>
                <a:ext cx="3121437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380C39D3-6CAC-4B72-C7A5-ADF49944F6BE}"/>
                </a:ext>
              </a:extLst>
            </p:cNvPr>
            <p:cNvSpPr/>
            <p:nvPr userDrawn="1"/>
          </p:nvSpPr>
          <p:spPr>
            <a:xfrm>
              <a:off x="11879015" y="2245130"/>
              <a:ext cx="154915" cy="15491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955745CD-694B-70F1-4727-01AB7466907B}"/>
                </a:ext>
              </a:extLst>
            </p:cNvPr>
            <p:cNvGrpSpPr/>
            <p:nvPr userDrawn="1"/>
          </p:nvGrpSpPr>
          <p:grpSpPr>
            <a:xfrm rot="10800000">
              <a:off x="7619719" y="2292361"/>
              <a:ext cx="2266671" cy="2263984"/>
              <a:chOff x="7638060" y="2322588"/>
              <a:chExt cx="2266671" cy="2263984"/>
            </a:xfrm>
            <a:grpFill/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0DB387F6-6F15-FDB3-9CED-CF103AABE1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 flipH="1">
                <a:off x="7638060" y="3432378"/>
                <a:ext cx="0" cy="937728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Arc 73">
                <a:extLst>
                  <a:ext uri="{FF2B5EF4-FFF2-40B4-BE49-F238E27FC236}">
                    <a16:creationId xmlns:a16="http://schemas.microsoft.com/office/drawing/2014/main" id="{9982860C-6C16-8B07-E825-7831A85C904B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063D042C-FB49-9E52-41A6-D91D7BD0CC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8757579" y="2322588"/>
                <a:ext cx="1147152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7" name="Oval 126">
            <a:extLst>
              <a:ext uri="{FF2B5EF4-FFF2-40B4-BE49-F238E27FC236}">
                <a16:creationId xmlns:a16="http://schemas.microsoft.com/office/drawing/2014/main" id="{DBF4DF32-1692-202B-C7F1-AA7872520537}"/>
              </a:ext>
            </a:extLst>
          </p:cNvPr>
          <p:cNvSpPr/>
          <p:nvPr userDrawn="1"/>
        </p:nvSpPr>
        <p:spPr>
          <a:xfrm flipH="1">
            <a:off x="9888218" y="2386119"/>
            <a:ext cx="154889" cy="154915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FB6E3C0E-218D-CD64-821E-56D6007E0635}"/>
              </a:ext>
            </a:extLst>
          </p:cNvPr>
          <p:cNvGrpSpPr/>
          <p:nvPr userDrawn="1"/>
        </p:nvGrpSpPr>
        <p:grpSpPr>
          <a:xfrm>
            <a:off x="3877833" y="-35176"/>
            <a:ext cx="8314167" cy="6912226"/>
            <a:chOff x="3877833" y="-35176"/>
            <a:chExt cx="8314167" cy="6912226"/>
          </a:xfrm>
        </p:grpSpPr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86F23026-9D1F-C24B-4BCB-3B43F563D48A}"/>
                </a:ext>
              </a:extLst>
            </p:cNvPr>
            <p:cNvSpPr/>
            <p:nvPr userDrawn="1"/>
          </p:nvSpPr>
          <p:spPr>
            <a:xfrm rot="10800000">
              <a:off x="5201830" y="1049111"/>
              <a:ext cx="6990170" cy="2341244"/>
            </a:xfrm>
            <a:custGeom>
              <a:avLst/>
              <a:gdLst>
                <a:gd name="connsiteX0" fmla="*/ 4770936 w 4770935"/>
                <a:gd name="connsiteY0" fmla="*/ 1597947 h 1597947"/>
                <a:gd name="connsiteX1" fmla="*/ 3128550 w 4770935"/>
                <a:gd name="connsiteY1" fmla="*/ 1597947 h 1597947"/>
                <a:gd name="connsiteX2" fmla="*/ 2920331 w 4770935"/>
                <a:gd name="connsiteY2" fmla="*/ 1511361 h 1597947"/>
                <a:gd name="connsiteX3" fmla="*/ 2835120 w 4770935"/>
                <a:gd name="connsiteY3" fmla="*/ 1302455 h 1597947"/>
                <a:gd name="connsiteX4" fmla="*/ 2842450 w 4770935"/>
                <a:gd name="connsiteY4" fmla="*/ 295492 h 1597947"/>
                <a:gd name="connsiteX5" fmla="*/ 2758841 w 4770935"/>
                <a:gd name="connsiteY5" fmla="*/ 90709 h 1597947"/>
                <a:gd name="connsiteX6" fmla="*/ 2554746 w 4770935"/>
                <a:gd name="connsiteY6" fmla="*/ 5727 h 1597947"/>
                <a:gd name="connsiteX7" fmla="*/ 950843 w 4770935"/>
                <a:gd name="connsiteY7" fmla="*/ 5727 h 1597947"/>
                <a:gd name="connsiteX8" fmla="*/ 663368 w 4770935"/>
                <a:gd name="connsiteY8" fmla="*/ 291369 h 1597947"/>
                <a:gd name="connsiteX9" fmla="*/ 661536 w 4770935"/>
                <a:gd name="connsiteY9" fmla="*/ 516997 h 1597947"/>
                <a:gd name="connsiteX10" fmla="*/ 1324904 w 4770935"/>
                <a:gd name="connsiteY10" fmla="*/ 516997 h 1597947"/>
                <a:gd name="connsiteX11" fmla="*/ 1618334 w 4770935"/>
                <a:gd name="connsiteY11" fmla="*/ 810656 h 1597947"/>
                <a:gd name="connsiteX12" fmla="*/ 1618334 w 4770935"/>
                <a:gd name="connsiteY12" fmla="*/ 1304517 h 1597947"/>
                <a:gd name="connsiteX13" fmla="*/ 1324904 w 4770935"/>
                <a:gd name="connsiteY13" fmla="*/ 1597947 h 1597947"/>
                <a:gd name="connsiteX14" fmla="*/ 943513 w 4770935"/>
                <a:gd name="connsiteY14" fmla="*/ 1597947 h 1597947"/>
                <a:gd name="connsiteX15" fmla="*/ 735294 w 4770935"/>
                <a:gd name="connsiteY15" fmla="*/ 1511361 h 1597947"/>
                <a:gd name="connsiteX16" fmla="*/ 650082 w 4770935"/>
                <a:gd name="connsiteY16" fmla="*/ 1302455 h 1597947"/>
                <a:gd name="connsiteX17" fmla="*/ 655809 w 4770935"/>
                <a:gd name="connsiteY17" fmla="*/ 522952 h 1597947"/>
                <a:gd name="connsiteX18" fmla="*/ 0 w 4770935"/>
                <a:gd name="connsiteY18" fmla="*/ 522952 h 1597947"/>
                <a:gd name="connsiteX19" fmla="*/ 0 w 4770935"/>
                <a:gd name="connsiteY19" fmla="*/ 516997 h 1597947"/>
                <a:gd name="connsiteX20" fmla="*/ 655809 w 4770935"/>
                <a:gd name="connsiteY20" fmla="*/ 516997 h 1597947"/>
                <a:gd name="connsiteX21" fmla="*/ 657412 w 4770935"/>
                <a:gd name="connsiteY21" fmla="*/ 291140 h 1597947"/>
                <a:gd name="connsiteX22" fmla="*/ 950843 w 4770935"/>
                <a:gd name="connsiteY22" fmla="*/ 0 h 1597947"/>
                <a:gd name="connsiteX23" fmla="*/ 2554746 w 4770935"/>
                <a:gd name="connsiteY23" fmla="*/ 0 h 1597947"/>
                <a:gd name="connsiteX24" fmla="*/ 2762965 w 4770935"/>
                <a:gd name="connsiteY24" fmla="*/ 86586 h 1597947"/>
                <a:gd name="connsiteX25" fmla="*/ 2848176 w 4770935"/>
                <a:gd name="connsiteY25" fmla="*/ 295492 h 1597947"/>
                <a:gd name="connsiteX26" fmla="*/ 2840846 w 4770935"/>
                <a:gd name="connsiteY26" fmla="*/ 1302455 h 1597947"/>
                <a:gd name="connsiteX27" fmla="*/ 2924454 w 4770935"/>
                <a:gd name="connsiteY27" fmla="*/ 1507238 h 1597947"/>
                <a:gd name="connsiteX28" fmla="*/ 3128550 w 4770935"/>
                <a:gd name="connsiteY28" fmla="*/ 1592221 h 1597947"/>
                <a:gd name="connsiteX29" fmla="*/ 4770936 w 4770935"/>
                <a:gd name="connsiteY29" fmla="*/ 1592221 h 1597947"/>
                <a:gd name="connsiteX30" fmla="*/ 661536 w 4770935"/>
                <a:gd name="connsiteY30" fmla="*/ 522723 h 1597947"/>
                <a:gd name="connsiteX31" fmla="*/ 655809 w 4770935"/>
                <a:gd name="connsiteY31" fmla="*/ 1302226 h 1597947"/>
                <a:gd name="connsiteX32" fmla="*/ 739417 w 4770935"/>
                <a:gd name="connsiteY32" fmla="*/ 1507009 h 1597947"/>
                <a:gd name="connsiteX33" fmla="*/ 943513 w 4770935"/>
                <a:gd name="connsiteY33" fmla="*/ 1591992 h 1597947"/>
                <a:gd name="connsiteX34" fmla="*/ 1324904 w 4770935"/>
                <a:gd name="connsiteY34" fmla="*/ 1591992 h 1597947"/>
                <a:gd name="connsiteX35" fmla="*/ 1612607 w 4770935"/>
                <a:gd name="connsiteY35" fmla="*/ 1304517 h 1597947"/>
                <a:gd name="connsiteX36" fmla="*/ 1612607 w 4770935"/>
                <a:gd name="connsiteY36" fmla="*/ 810427 h 1597947"/>
                <a:gd name="connsiteX37" fmla="*/ 1324904 w 4770935"/>
                <a:gd name="connsiteY37" fmla="*/ 522723 h 159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70935" h="1597947">
                  <a:moveTo>
                    <a:pt x="4770936" y="1597947"/>
                  </a:moveTo>
                  <a:lnTo>
                    <a:pt x="3128550" y="1597947"/>
                  </a:lnTo>
                  <a:cubicBezTo>
                    <a:pt x="3049752" y="1597947"/>
                    <a:pt x="2975765" y="1567253"/>
                    <a:pt x="2920331" y="1511361"/>
                  </a:cubicBezTo>
                  <a:cubicBezTo>
                    <a:pt x="2864669" y="1455470"/>
                    <a:pt x="2834432" y="1381253"/>
                    <a:pt x="2835120" y="1302455"/>
                  </a:cubicBezTo>
                  <a:lnTo>
                    <a:pt x="2842450" y="295492"/>
                  </a:lnTo>
                  <a:cubicBezTo>
                    <a:pt x="2842908" y="218298"/>
                    <a:pt x="2813359" y="145455"/>
                    <a:pt x="2758841" y="90709"/>
                  </a:cubicBezTo>
                  <a:cubicBezTo>
                    <a:pt x="2704553" y="35963"/>
                    <a:pt x="2631940" y="5727"/>
                    <a:pt x="2554746" y="5727"/>
                  </a:cubicBezTo>
                  <a:lnTo>
                    <a:pt x="950843" y="5727"/>
                  </a:lnTo>
                  <a:cubicBezTo>
                    <a:pt x="793476" y="5727"/>
                    <a:pt x="664513" y="133773"/>
                    <a:pt x="663368" y="291369"/>
                  </a:cubicBezTo>
                  <a:lnTo>
                    <a:pt x="661536" y="516997"/>
                  </a:lnTo>
                  <a:lnTo>
                    <a:pt x="1324904" y="516997"/>
                  </a:lnTo>
                  <a:cubicBezTo>
                    <a:pt x="1486851" y="516997"/>
                    <a:pt x="1618334" y="648708"/>
                    <a:pt x="1618334" y="810656"/>
                  </a:cubicBezTo>
                  <a:lnTo>
                    <a:pt x="1618334" y="1304517"/>
                  </a:lnTo>
                  <a:cubicBezTo>
                    <a:pt x="1618334" y="1466236"/>
                    <a:pt x="1486851" y="1597947"/>
                    <a:pt x="1324904" y="1597947"/>
                  </a:cubicBezTo>
                  <a:lnTo>
                    <a:pt x="943513" y="1597947"/>
                  </a:lnTo>
                  <a:cubicBezTo>
                    <a:pt x="864715" y="1597947"/>
                    <a:pt x="790727" y="1567253"/>
                    <a:pt x="735294" y="1511361"/>
                  </a:cubicBezTo>
                  <a:cubicBezTo>
                    <a:pt x="679861" y="1455470"/>
                    <a:pt x="649395" y="1381253"/>
                    <a:pt x="650082" y="1302455"/>
                  </a:cubicBezTo>
                  <a:lnTo>
                    <a:pt x="655809" y="522952"/>
                  </a:lnTo>
                  <a:lnTo>
                    <a:pt x="0" y="522952"/>
                  </a:lnTo>
                  <a:lnTo>
                    <a:pt x="0" y="516997"/>
                  </a:lnTo>
                  <a:lnTo>
                    <a:pt x="655809" y="516997"/>
                  </a:lnTo>
                  <a:lnTo>
                    <a:pt x="657412" y="291140"/>
                  </a:lnTo>
                  <a:cubicBezTo>
                    <a:pt x="658558" y="130566"/>
                    <a:pt x="790269" y="0"/>
                    <a:pt x="950843" y="0"/>
                  </a:cubicBezTo>
                  <a:lnTo>
                    <a:pt x="2554746" y="0"/>
                  </a:lnTo>
                  <a:cubicBezTo>
                    <a:pt x="2633544" y="0"/>
                    <a:pt x="2707531" y="30695"/>
                    <a:pt x="2762965" y="86586"/>
                  </a:cubicBezTo>
                  <a:cubicBezTo>
                    <a:pt x="2818627" y="142478"/>
                    <a:pt x="2848863" y="216694"/>
                    <a:pt x="2848176" y="295492"/>
                  </a:cubicBezTo>
                  <a:lnTo>
                    <a:pt x="2840846" y="1302455"/>
                  </a:lnTo>
                  <a:cubicBezTo>
                    <a:pt x="2840388" y="1379650"/>
                    <a:pt x="2869937" y="1452263"/>
                    <a:pt x="2924454" y="1507238"/>
                  </a:cubicBezTo>
                  <a:cubicBezTo>
                    <a:pt x="2978742" y="1561984"/>
                    <a:pt x="3051356" y="1592221"/>
                    <a:pt x="3128550" y="1592221"/>
                  </a:cubicBezTo>
                  <a:lnTo>
                    <a:pt x="4770936" y="1592221"/>
                  </a:lnTo>
                  <a:close/>
                  <a:moveTo>
                    <a:pt x="661536" y="522723"/>
                  </a:moveTo>
                  <a:lnTo>
                    <a:pt x="655809" y="1302226"/>
                  </a:lnTo>
                  <a:cubicBezTo>
                    <a:pt x="655351" y="1379650"/>
                    <a:pt x="684900" y="1452263"/>
                    <a:pt x="739417" y="1507009"/>
                  </a:cubicBezTo>
                  <a:cubicBezTo>
                    <a:pt x="793705" y="1561984"/>
                    <a:pt x="866318" y="1591992"/>
                    <a:pt x="943513" y="1591992"/>
                  </a:cubicBezTo>
                  <a:lnTo>
                    <a:pt x="1324904" y="1591992"/>
                  </a:lnTo>
                  <a:cubicBezTo>
                    <a:pt x="1483645" y="1591992"/>
                    <a:pt x="1612607" y="1463029"/>
                    <a:pt x="1612607" y="1304517"/>
                  </a:cubicBezTo>
                  <a:lnTo>
                    <a:pt x="1612607" y="810427"/>
                  </a:lnTo>
                  <a:cubicBezTo>
                    <a:pt x="1612607" y="651915"/>
                    <a:pt x="1483645" y="522723"/>
                    <a:pt x="1324904" y="522723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B25EACA-58A5-8259-E7D4-D54484E3D57F}"/>
                </a:ext>
              </a:extLst>
            </p:cNvPr>
            <p:cNvSpPr/>
            <p:nvPr userDrawn="1"/>
          </p:nvSpPr>
          <p:spPr>
            <a:xfrm rot="10800000">
              <a:off x="8977824" y="65762"/>
              <a:ext cx="3214176" cy="6151470"/>
            </a:xfrm>
            <a:custGeom>
              <a:avLst/>
              <a:gdLst>
                <a:gd name="connsiteX0" fmla="*/ 2193742 w 2193741"/>
                <a:gd name="connsiteY0" fmla="*/ 4198506 h 4198505"/>
                <a:gd name="connsiteX1" fmla="*/ 2187786 w 2193741"/>
                <a:gd name="connsiteY1" fmla="*/ 4198506 h 4198505"/>
                <a:gd name="connsiteX2" fmla="*/ 2187786 w 2193741"/>
                <a:gd name="connsiteY2" fmla="*/ 1205791 h 4198505"/>
                <a:gd name="connsiteX3" fmla="*/ 1900311 w 2193741"/>
                <a:gd name="connsiteY3" fmla="*/ 918087 h 4198505"/>
                <a:gd name="connsiteX4" fmla="*/ 1080951 w 2193741"/>
                <a:gd name="connsiteY4" fmla="*/ 918087 h 4198505"/>
                <a:gd name="connsiteX5" fmla="*/ 787291 w 2193741"/>
                <a:gd name="connsiteY5" fmla="*/ 624656 h 4198505"/>
                <a:gd name="connsiteX6" fmla="*/ 787291 w 2193741"/>
                <a:gd name="connsiteY6" fmla="*/ 293430 h 4198505"/>
                <a:gd name="connsiteX7" fmla="*/ 499817 w 2193741"/>
                <a:gd name="connsiteY7" fmla="*/ 5727 h 4198505"/>
                <a:gd name="connsiteX8" fmla="*/ 0 w 2193741"/>
                <a:gd name="connsiteY8" fmla="*/ 5727 h 4198505"/>
                <a:gd name="connsiteX9" fmla="*/ 0 w 2193741"/>
                <a:gd name="connsiteY9" fmla="*/ 0 h 4198505"/>
                <a:gd name="connsiteX10" fmla="*/ 499817 w 2193741"/>
                <a:gd name="connsiteY10" fmla="*/ 0 h 4198505"/>
                <a:gd name="connsiteX11" fmla="*/ 793247 w 2193741"/>
                <a:gd name="connsiteY11" fmla="*/ 293430 h 4198505"/>
                <a:gd name="connsiteX12" fmla="*/ 793247 w 2193741"/>
                <a:gd name="connsiteY12" fmla="*/ 624656 h 4198505"/>
                <a:gd name="connsiteX13" fmla="*/ 1080951 w 2193741"/>
                <a:gd name="connsiteY13" fmla="*/ 912360 h 4198505"/>
                <a:gd name="connsiteX14" fmla="*/ 1900311 w 2193741"/>
                <a:gd name="connsiteY14" fmla="*/ 912360 h 4198505"/>
                <a:gd name="connsiteX15" fmla="*/ 2193742 w 2193741"/>
                <a:gd name="connsiteY15" fmla="*/ 1205791 h 4198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3741" h="4198505">
                  <a:moveTo>
                    <a:pt x="2193742" y="4198506"/>
                  </a:moveTo>
                  <a:lnTo>
                    <a:pt x="2187786" y="4198506"/>
                  </a:lnTo>
                  <a:lnTo>
                    <a:pt x="2187786" y="1205791"/>
                  </a:lnTo>
                  <a:cubicBezTo>
                    <a:pt x="2187786" y="1047279"/>
                    <a:pt x="2058823" y="918087"/>
                    <a:pt x="1900311" y="918087"/>
                  </a:cubicBezTo>
                  <a:lnTo>
                    <a:pt x="1080951" y="918087"/>
                  </a:lnTo>
                  <a:cubicBezTo>
                    <a:pt x="919003" y="918087"/>
                    <a:pt x="787291" y="786604"/>
                    <a:pt x="787291" y="624656"/>
                  </a:cubicBezTo>
                  <a:lnTo>
                    <a:pt x="787291" y="293430"/>
                  </a:lnTo>
                  <a:cubicBezTo>
                    <a:pt x="787291" y="134918"/>
                    <a:pt x="658329" y="5727"/>
                    <a:pt x="499817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499817" y="0"/>
                  </a:lnTo>
                  <a:cubicBezTo>
                    <a:pt x="661536" y="0"/>
                    <a:pt x="793247" y="131712"/>
                    <a:pt x="793247" y="293430"/>
                  </a:cubicBezTo>
                  <a:lnTo>
                    <a:pt x="793247" y="624656"/>
                  </a:lnTo>
                  <a:cubicBezTo>
                    <a:pt x="793247" y="783397"/>
                    <a:pt x="922210" y="912360"/>
                    <a:pt x="1080951" y="912360"/>
                  </a:cubicBezTo>
                  <a:lnTo>
                    <a:pt x="1900311" y="912360"/>
                  </a:lnTo>
                  <a:cubicBezTo>
                    <a:pt x="2062030" y="912360"/>
                    <a:pt x="2193742" y="1044072"/>
                    <a:pt x="2193742" y="120579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AB0CFDB-9B99-8901-7118-7B1640A88209}"/>
                </a:ext>
              </a:extLst>
            </p:cNvPr>
            <p:cNvSpPr/>
            <p:nvPr userDrawn="1"/>
          </p:nvSpPr>
          <p:spPr>
            <a:xfrm rot="10800000">
              <a:off x="9139591" y="5527546"/>
              <a:ext cx="3052409" cy="1349504"/>
            </a:xfrm>
            <a:custGeom>
              <a:avLst/>
              <a:gdLst>
                <a:gd name="connsiteX0" fmla="*/ 1789903 w 2083332"/>
                <a:gd name="connsiteY0" fmla="*/ 921065 h 921064"/>
                <a:gd name="connsiteX1" fmla="*/ 0 w 2083332"/>
                <a:gd name="connsiteY1" fmla="*/ 921065 h 921064"/>
                <a:gd name="connsiteX2" fmla="*/ 0 w 2083332"/>
                <a:gd name="connsiteY2" fmla="*/ 915338 h 921064"/>
                <a:gd name="connsiteX3" fmla="*/ 1789903 w 2083332"/>
                <a:gd name="connsiteY3" fmla="*/ 915338 h 921064"/>
                <a:gd name="connsiteX4" fmla="*/ 2077377 w 2083332"/>
                <a:gd name="connsiteY4" fmla="*/ 627634 h 921064"/>
                <a:gd name="connsiteX5" fmla="*/ 2077377 w 2083332"/>
                <a:gd name="connsiteY5" fmla="*/ 0 h 921064"/>
                <a:gd name="connsiteX6" fmla="*/ 2083333 w 2083332"/>
                <a:gd name="connsiteY6" fmla="*/ 0 h 921064"/>
                <a:gd name="connsiteX7" fmla="*/ 2083333 w 2083332"/>
                <a:gd name="connsiteY7" fmla="*/ 627634 h 921064"/>
                <a:gd name="connsiteX8" fmla="*/ 1789903 w 2083332"/>
                <a:gd name="connsiteY8" fmla="*/ 921065 h 92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3332" h="921064">
                  <a:moveTo>
                    <a:pt x="1789903" y="921065"/>
                  </a:moveTo>
                  <a:lnTo>
                    <a:pt x="0" y="921065"/>
                  </a:lnTo>
                  <a:lnTo>
                    <a:pt x="0" y="915338"/>
                  </a:lnTo>
                  <a:lnTo>
                    <a:pt x="1789903" y="915338"/>
                  </a:lnTo>
                  <a:cubicBezTo>
                    <a:pt x="1948415" y="915338"/>
                    <a:pt x="2077377" y="786146"/>
                    <a:pt x="2077377" y="627634"/>
                  </a:cubicBezTo>
                  <a:lnTo>
                    <a:pt x="2077377" y="0"/>
                  </a:lnTo>
                  <a:lnTo>
                    <a:pt x="2083333" y="0"/>
                  </a:lnTo>
                  <a:lnTo>
                    <a:pt x="2083333" y="627634"/>
                  </a:lnTo>
                  <a:cubicBezTo>
                    <a:pt x="2083333" y="789353"/>
                    <a:pt x="1951621" y="921065"/>
                    <a:pt x="1789903" y="92106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9F615A1-94D9-A7CF-7CFC-AD28AD0F8042}"/>
                </a:ext>
              </a:extLst>
            </p:cNvPr>
            <p:cNvSpPr/>
            <p:nvPr userDrawn="1"/>
          </p:nvSpPr>
          <p:spPr>
            <a:xfrm rot="10800000">
              <a:off x="10510574" y="65762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EECC672-2EB6-6A53-C2C8-EC2006A2F8E8}"/>
                </a:ext>
              </a:extLst>
            </p:cNvPr>
            <p:cNvSpPr/>
            <p:nvPr userDrawn="1"/>
          </p:nvSpPr>
          <p:spPr>
            <a:xfrm rot="10800000">
              <a:off x="9829801" y="4115481"/>
              <a:ext cx="2362199" cy="10800"/>
            </a:xfrm>
            <a:custGeom>
              <a:avLst/>
              <a:gdLst>
                <a:gd name="connsiteX0" fmla="*/ 1388812 w 1388812"/>
                <a:gd name="connsiteY0" fmla="*/ 5727 h 5726"/>
                <a:gd name="connsiteX1" fmla="*/ 0 w 1388812"/>
                <a:gd name="connsiteY1" fmla="*/ 5727 h 5726"/>
                <a:gd name="connsiteX2" fmla="*/ 0 w 1388812"/>
                <a:gd name="connsiteY2" fmla="*/ 0 h 5726"/>
                <a:gd name="connsiteX3" fmla="*/ 1388812 w 1388812"/>
                <a:gd name="connsiteY3" fmla="*/ 0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812" h="5726">
                  <a:moveTo>
                    <a:pt x="1388812" y="5727"/>
                  </a:moveTo>
                  <a:lnTo>
                    <a:pt x="0" y="5727"/>
                  </a:lnTo>
                  <a:lnTo>
                    <a:pt x="0" y="0"/>
                  </a:lnTo>
                  <a:lnTo>
                    <a:pt x="138881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64F59E00-F405-F259-EB3B-72988FA9CE5E}"/>
                </a:ext>
              </a:extLst>
            </p:cNvPr>
            <p:cNvSpPr/>
            <p:nvPr userDrawn="1"/>
          </p:nvSpPr>
          <p:spPr>
            <a:xfrm rot="10800000">
              <a:off x="10476342" y="597709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CA2226D5-A177-BBE3-B163-EDBAD9BE7FB8}"/>
                </a:ext>
              </a:extLst>
            </p:cNvPr>
            <p:cNvGrpSpPr/>
            <p:nvPr userDrawn="1"/>
          </p:nvGrpSpPr>
          <p:grpSpPr>
            <a:xfrm rot="10800000">
              <a:off x="4516507" y="4335446"/>
              <a:ext cx="5542665" cy="2541604"/>
              <a:chOff x="14458144" y="2217630"/>
              <a:chExt cx="3782983" cy="1734697"/>
            </a:xfrm>
            <a:solidFill>
              <a:schemeClr val="accent6">
                <a:lumMod val="60000"/>
                <a:lumOff val="40000"/>
                <a:alpha val="66000"/>
              </a:schemeClr>
            </a:solidFill>
          </p:grpSpPr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D64A478B-E063-53E3-66C4-53CFCFADFD79}"/>
                  </a:ext>
                </a:extLst>
              </p:cNvPr>
              <p:cNvSpPr/>
              <p:nvPr/>
            </p:nvSpPr>
            <p:spPr>
              <a:xfrm>
                <a:off x="14458144" y="2217630"/>
                <a:ext cx="2954919" cy="1693924"/>
              </a:xfrm>
              <a:custGeom>
                <a:avLst/>
                <a:gdLst>
                  <a:gd name="connsiteX0" fmla="*/ 2954920 w 2954919"/>
                  <a:gd name="connsiteY0" fmla="*/ 1693925 h 1693924"/>
                  <a:gd name="connsiteX1" fmla="*/ 1897333 w 2954919"/>
                  <a:gd name="connsiteY1" fmla="*/ 1693925 h 1693924"/>
                  <a:gd name="connsiteX2" fmla="*/ 1603903 w 2954919"/>
                  <a:gd name="connsiteY2" fmla="*/ 1400495 h 1693924"/>
                  <a:gd name="connsiteX3" fmla="*/ 1603903 w 2954919"/>
                  <a:gd name="connsiteY3" fmla="*/ 836769 h 1693924"/>
                  <a:gd name="connsiteX4" fmla="*/ 1316199 w 2954919"/>
                  <a:gd name="connsiteY4" fmla="*/ 549065 h 1693924"/>
                  <a:gd name="connsiteX5" fmla="*/ 293430 w 2954919"/>
                  <a:gd name="connsiteY5" fmla="*/ 549065 h 1693924"/>
                  <a:gd name="connsiteX6" fmla="*/ 0 w 2954919"/>
                  <a:gd name="connsiteY6" fmla="*/ 255635 h 1693924"/>
                  <a:gd name="connsiteX7" fmla="*/ 0 w 2954919"/>
                  <a:gd name="connsiteY7" fmla="*/ 0 h 1693924"/>
                  <a:gd name="connsiteX8" fmla="*/ 5727 w 2954919"/>
                  <a:gd name="connsiteY8" fmla="*/ 0 h 1693924"/>
                  <a:gd name="connsiteX9" fmla="*/ 5727 w 2954919"/>
                  <a:gd name="connsiteY9" fmla="*/ 255635 h 1693924"/>
                  <a:gd name="connsiteX10" fmla="*/ 293430 w 2954919"/>
                  <a:gd name="connsiteY10" fmla="*/ 543339 h 1693924"/>
                  <a:gd name="connsiteX11" fmla="*/ 1316199 w 2954919"/>
                  <a:gd name="connsiteY11" fmla="*/ 543339 h 1693924"/>
                  <a:gd name="connsiteX12" fmla="*/ 1609630 w 2954919"/>
                  <a:gd name="connsiteY12" fmla="*/ 836769 h 1693924"/>
                  <a:gd name="connsiteX13" fmla="*/ 1609630 w 2954919"/>
                  <a:gd name="connsiteY13" fmla="*/ 1400495 h 1693924"/>
                  <a:gd name="connsiteX14" fmla="*/ 1897333 w 2954919"/>
                  <a:gd name="connsiteY14" fmla="*/ 1688198 h 1693924"/>
                  <a:gd name="connsiteX15" fmla="*/ 2954920 w 2954919"/>
                  <a:gd name="connsiteY15" fmla="*/ 1688198 h 169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54919" h="1693924">
                    <a:moveTo>
                      <a:pt x="2954920" y="1693925"/>
                    </a:moveTo>
                    <a:lnTo>
                      <a:pt x="1897333" y="1693925"/>
                    </a:lnTo>
                    <a:cubicBezTo>
                      <a:pt x="1735615" y="1693925"/>
                      <a:pt x="1603903" y="1562214"/>
                      <a:pt x="1603903" y="1400495"/>
                    </a:cubicBezTo>
                    <a:lnTo>
                      <a:pt x="1603903" y="836769"/>
                    </a:lnTo>
                    <a:cubicBezTo>
                      <a:pt x="1603903" y="678257"/>
                      <a:pt x="1474711" y="549065"/>
                      <a:pt x="1316199" y="549065"/>
                    </a:cubicBezTo>
                    <a:lnTo>
                      <a:pt x="293430" y="549065"/>
                    </a:lnTo>
                    <a:cubicBezTo>
                      <a:pt x="131712" y="549065"/>
                      <a:pt x="0" y="417583"/>
                      <a:pt x="0" y="255635"/>
                    </a:cubicBezTo>
                    <a:lnTo>
                      <a:pt x="0" y="0"/>
                    </a:lnTo>
                    <a:lnTo>
                      <a:pt x="5727" y="0"/>
                    </a:lnTo>
                    <a:lnTo>
                      <a:pt x="5727" y="255635"/>
                    </a:lnTo>
                    <a:cubicBezTo>
                      <a:pt x="5727" y="414376"/>
                      <a:pt x="134918" y="543339"/>
                      <a:pt x="293430" y="543339"/>
                    </a:cubicBezTo>
                    <a:lnTo>
                      <a:pt x="1316199" y="543339"/>
                    </a:lnTo>
                    <a:cubicBezTo>
                      <a:pt x="1477918" y="543339"/>
                      <a:pt x="1609630" y="675050"/>
                      <a:pt x="1609630" y="836769"/>
                    </a:cubicBezTo>
                    <a:lnTo>
                      <a:pt x="1609630" y="1400495"/>
                    </a:lnTo>
                    <a:cubicBezTo>
                      <a:pt x="1609630" y="1559007"/>
                      <a:pt x="1738821" y="1688198"/>
                      <a:pt x="1897333" y="1688198"/>
                    </a:cubicBezTo>
                    <a:lnTo>
                      <a:pt x="2954920" y="16881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CA02F5F2-59ED-DCCD-F3C7-49346D3DB69D}"/>
                  </a:ext>
                </a:extLst>
              </p:cNvPr>
              <p:cNvSpPr/>
              <p:nvPr/>
            </p:nvSpPr>
            <p:spPr>
              <a:xfrm>
                <a:off x="15643548" y="2217630"/>
                <a:ext cx="2559785" cy="1095381"/>
              </a:xfrm>
              <a:custGeom>
                <a:avLst/>
                <a:gdLst>
                  <a:gd name="connsiteX0" fmla="*/ 2559785 w 2559785"/>
                  <a:gd name="connsiteY0" fmla="*/ 1095382 h 1095381"/>
                  <a:gd name="connsiteX1" fmla="*/ 293431 w 2559785"/>
                  <a:gd name="connsiteY1" fmla="*/ 1095382 h 1095381"/>
                  <a:gd name="connsiteX2" fmla="*/ 0 w 2559785"/>
                  <a:gd name="connsiteY2" fmla="*/ 801951 h 1095381"/>
                  <a:gd name="connsiteX3" fmla="*/ 0 w 2559785"/>
                  <a:gd name="connsiteY3" fmla="*/ 0 h 1095381"/>
                  <a:gd name="connsiteX4" fmla="*/ 5956 w 2559785"/>
                  <a:gd name="connsiteY4" fmla="*/ 0 h 1095381"/>
                  <a:gd name="connsiteX5" fmla="*/ 5956 w 2559785"/>
                  <a:gd name="connsiteY5" fmla="*/ 801951 h 1095381"/>
                  <a:gd name="connsiteX6" fmla="*/ 293431 w 2559785"/>
                  <a:gd name="connsiteY6" fmla="*/ 1089655 h 1095381"/>
                  <a:gd name="connsiteX7" fmla="*/ 2559785 w 2559785"/>
                  <a:gd name="connsiteY7" fmla="*/ 1089655 h 109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9785" h="1095381">
                    <a:moveTo>
                      <a:pt x="2559785" y="1095382"/>
                    </a:moveTo>
                    <a:lnTo>
                      <a:pt x="293431" y="1095382"/>
                    </a:lnTo>
                    <a:cubicBezTo>
                      <a:pt x="131712" y="1095382"/>
                      <a:pt x="0" y="963670"/>
                      <a:pt x="0" y="801951"/>
                    </a:cubicBezTo>
                    <a:lnTo>
                      <a:pt x="0" y="0"/>
                    </a:lnTo>
                    <a:lnTo>
                      <a:pt x="5956" y="0"/>
                    </a:lnTo>
                    <a:lnTo>
                      <a:pt x="5956" y="801951"/>
                    </a:lnTo>
                    <a:cubicBezTo>
                      <a:pt x="5956" y="960464"/>
                      <a:pt x="134918" y="1089655"/>
                      <a:pt x="293431" y="1089655"/>
                    </a:cubicBezTo>
                    <a:lnTo>
                      <a:pt x="2559785" y="1089655"/>
                    </a:ln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2E7305EC-CF6D-BBF1-D63A-543A49A261BD}"/>
                  </a:ext>
                </a:extLst>
              </p:cNvPr>
              <p:cNvSpPr/>
              <p:nvPr/>
            </p:nvSpPr>
            <p:spPr>
              <a:xfrm>
                <a:off x="17375268" y="3876737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979D2560-2288-E9A2-4652-B05044F7DA25}"/>
                  </a:ext>
                </a:extLst>
              </p:cNvPr>
              <p:cNvSpPr/>
              <p:nvPr/>
            </p:nvSpPr>
            <p:spPr>
              <a:xfrm>
                <a:off x="18165537" y="3272239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678CB9F-9B66-075B-BA88-C3B1328C4887}"/>
                </a:ext>
              </a:extLst>
            </p:cNvPr>
            <p:cNvSpPr/>
            <p:nvPr userDrawn="1"/>
          </p:nvSpPr>
          <p:spPr>
            <a:xfrm rot="10800000">
              <a:off x="5146454" y="998099"/>
              <a:ext cx="110751" cy="110416"/>
            </a:xfrm>
            <a:custGeom>
              <a:avLst/>
              <a:gdLst>
                <a:gd name="connsiteX0" fmla="*/ 75591 w 75590"/>
                <a:gd name="connsiteY0" fmla="*/ 37566 h 75361"/>
                <a:gd name="connsiteX1" fmla="*/ 37795 w 75590"/>
                <a:gd name="connsiteY1" fmla="*/ 75362 h 75361"/>
                <a:gd name="connsiteX2" fmla="*/ 0 w 75590"/>
                <a:gd name="connsiteY2" fmla="*/ 37566 h 75361"/>
                <a:gd name="connsiteX3" fmla="*/ 37795 w 75590"/>
                <a:gd name="connsiteY3" fmla="*/ 0 h 75361"/>
                <a:gd name="connsiteX4" fmla="*/ 75591 w 75590"/>
                <a:gd name="connsiteY4" fmla="*/ 37566 h 7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361">
                  <a:moveTo>
                    <a:pt x="75591" y="37566"/>
                  </a:moveTo>
                  <a:cubicBezTo>
                    <a:pt x="75591" y="58640"/>
                    <a:pt x="58640" y="75362"/>
                    <a:pt x="37795" y="75362"/>
                  </a:cubicBezTo>
                  <a:cubicBezTo>
                    <a:pt x="16950" y="75362"/>
                    <a:pt x="0" y="58640"/>
                    <a:pt x="0" y="37566"/>
                  </a:cubicBezTo>
                  <a:cubicBezTo>
                    <a:pt x="0" y="16722"/>
                    <a:pt x="16950" y="0"/>
                    <a:pt x="37795" y="0"/>
                  </a:cubicBezTo>
                  <a:cubicBezTo>
                    <a:pt x="58640" y="0"/>
                    <a:pt x="75591" y="16722"/>
                    <a:pt x="75591" y="37566"/>
                  </a:cubicBezTo>
                  <a:close/>
                </a:path>
              </a:pathLst>
            </a:custGeom>
            <a:solidFill>
              <a:schemeClr val="accent2"/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8526A5A-4A6A-E0B6-D2A5-7BD7FC39A690}"/>
                </a:ext>
              </a:extLst>
            </p:cNvPr>
            <p:cNvGrpSpPr/>
            <p:nvPr userDrawn="1"/>
          </p:nvGrpSpPr>
          <p:grpSpPr>
            <a:xfrm>
              <a:off x="3877833" y="-35176"/>
              <a:ext cx="2869164" cy="2277476"/>
              <a:chOff x="3877833" y="65762"/>
              <a:chExt cx="2869164" cy="2277476"/>
            </a:xfrm>
          </p:grpSpPr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406F695-F7BB-8438-3C30-08D1F9901EB2}"/>
                  </a:ext>
                </a:extLst>
              </p:cNvPr>
              <p:cNvSpPr/>
              <p:nvPr/>
            </p:nvSpPr>
            <p:spPr>
              <a:xfrm rot="10800000">
                <a:off x="3933209" y="65762"/>
                <a:ext cx="2813788" cy="2226463"/>
              </a:xfrm>
              <a:custGeom>
                <a:avLst/>
                <a:gdLst>
                  <a:gd name="connsiteX0" fmla="*/ 5727 w 1920468"/>
                  <a:gd name="connsiteY0" fmla="*/ 1519607 h 1519607"/>
                  <a:gd name="connsiteX1" fmla="*/ 0 w 1920468"/>
                  <a:gd name="connsiteY1" fmla="*/ 1519607 h 1519607"/>
                  <a:gd name="connsiteX2" fmla="*/ 0 w 1920468"/>
                  <a:gd name="connsiteY2" fmla="*/ 293430 h 1519607"/>
                  <a:gd name="connsiteX3" fmla="*/ 293430 w 1920468"/>
                  <a:gd name="connsiteY3" fmla="*/ 0 h 1519607"/>
                  <a:gd name="connsiteX4" fmla="*/ 1920469 w 1920468"/>
                  <a:gd name="connsiteY4" fmla="*/ 0 h 1519607"/>
                  <a:gd name="connsiteX5" fmla="*/ 1920469 w 1920468"/>
                  <a:gd name="connsiteY5" fmla="*/ 5956 h 1519607"/>
                  <a:gd name="connsiteX6" fmla="*/ 293430 w 1920468"/>
                  <a:gd name="connsiteY6" fmla="*/ 5956 h 1519607"/>
                  <a:gd name="connsiteX7" fmla="*/ 5727 w 1920468"/>
                  <a:gd name="connsiteY7" fmla="*/ 293430 h 15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468" h="1519607">
                    <a:moveTo>
                      <a:pt x="5727" y="1519607"/>
                    </a:moveTo>
                    <a:lnTo>
                      <a:pt x="0" y="1519607"/>
                    </a:lnTo>
                    <a:lnTo>
                      <a:pt x="0" y="293430"/>
                    </a:lnTo>
                    <a:cubicBezTo>
                      <a:pt x="0" y="131712"/>
                      <a:pt x="131483" y="0"/>
                      <a:pt x="293430" y="0"/>
                    </a:cubicBezTo>
                    <a:lnTo>
                      <a:pt x="1920469" y="0"/>
                    </a:lnTo>
                    <a:lnTo>
                      <a:pt x="1920469" y="5956"/>
                    </a:lnTo>
                    <a:lnTo>
                      <a:pt x="293430" y="5956"/>
                    </a:lnTo>
                    <a:cubicBezTo>
                      <a:pt x="134689" y="5956"/>
                      <a:pt x="5727" y="134918"/>
                      <a:pt x="5727" y="29343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0789FA2-2AE7-7C9F-9E92-B748420057D7}"/>
                  </a:ext>
                </a:extLst>
              </p:cNvPr>
              <p:cNvSpPr/>
              <p:nvPr/>
            </p:nvSpPr>
            <p:spPr>
              <a:xfrm rot="10800000">
                <a:off x="3877833" y="2232487"/>
                <a:ext cx="110751" cy="110751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0" y="75591"/>
                      <a:pt x="0" y="58640"/>
                      <a:pt x="0" y="37795"/>
                    </a:cubicBezTo>
                    <a:cubicBezTo>
                      <a:pt x="0" y="16951"/>
                      <a:pt x="16950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1004EE6-88AE-03DE-A35D-29855AF0AE1F}"/>
                </a:ext>
              </a:extLst>
            </p:cNvPr>
            <p:cNvSpPr/>
            <p:nvPr userDrawn="1"/>
          </p:nvSpPr>
          <p:spPr>
            <a:xfrm rot="10800000">
              <a:off x="9792894" y="4071653"/>
              <a:ext cx="110751" cy="110751"/>
            </a:xfrm>
            <a:custGeom>
              <a:avLst/>
              <a:gdLst>
                <a:gd name="connsiteX0" fmla="*/ 75591 w 75590"/>
                <a:gd name="connsiteY0" fmla="*/ 37795 h 75590"/>
                <a:gd name="connsiteX1" fmla="*/ 37795 w 75590"/>
                <a:gd name="connsiteY1" fmla="*/ 75591 h 75590"/>
                <a:gd name="connsiteX2" fmla="*/ 0 w 75590"/>
                <a:gd name="connsiteY2" fmla="*/ 37795 h 75590"/>
                <a:gd name="connsiteX3" fmla="*/ 37795 w 75590"/>
                <a:gd name="connsiteY3" fmla="*/ 0 h 75590"/>
                <a:gd name="connsiteX4" fmla="*/ 75591 w 75590"/>
                <a:gd name="connsiteY4" fmla="*/ 37795 h 7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590">
                  <a:moveTo>
                    <a:pt x="75591" y="37795"/>
                  </a:moveTo>
                  <a:cubicBezTo>
                    <a:pt x="75591" y="58640"/>
                    <a:pt x="58640" y="75591"/>
                    <a:pt x="37795" y="75591"/>
                  </a:cubicBezTo>
                  <a:cubicBezTo>
                    <a:pt x="16951" y="75591"/>
                    <a:pt x="0" y="58640"/>
                    <a:pt x="0" y="37795"/>
                  </a:cubicBezTo>
                  <a:cubicBezTo>
                    <a:pt x="0" y="16951"/>
                    <a:pt x="16951" y="0"/>
                    <a:pt x="37795" y="0"/>
                  </a:cubicBezTo>
                  <a:cubicBezTo>
                    <a:pt x="58640" y="0"/>
                    <a:pt x="75591" y="16951"/>
                    <a:pt x="75591" y="3779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1612409-5D4B-76CE-C22C-5E9A3522E818}"/>
              </a:ext>
            </a:extLst>
          </p:cNvPr>
          <p:cNvGrpSpPr/>
          <p:nvPr userDrawn="1"/>
        </p:nvGrpSpPr>
        <p:grpSpPr>
          <a:xfrm>
            <a:off x="10462869" y="65761"/>
            <a:ext cx="1715658" cy="1732439"/>
            <a:chOff x="22566503" y="38955"/>
            <a:chExt cx="1715658" cy="1732439"/>
          </a:xfrm>
          <a:solidFill>
            <a:schemeClr val="bg1"/>
          </a:solidFill>
        </p:grpSpPr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40A65877-C3AC-A9C4-83A7-686E6269F0FE}"/>
                </a:ext>
              </a:extLst>
            </p:cNvPr>
            <p:cNvSpPr/>
            <p:nvPr userDrawn="1"/>
          </p:nvSpPr>
          <p:spPr>
            <a:xfrm rot="10800000">
              <a:off x="22600735" y="38955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BE87F074-B25E-8365-9709-327EA6100C2C}"/>
                </a:ext>
              </a:extLst>
            </p:cNvPr>
            <p:cNvSpPr/>
            <p:nvPr userDrawn="1"/>
          </p:nvSpPr>
          <p:spPr>
            <a:xfrm rot="10800000">
              <a:off x="22566503" y="570902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5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F0320677-2F9E-D948-507E-9BB870E58D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16" y="4847238"/>
            <a:ext cx="2226336" cy="157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61079CF8-4C91-2223-56E4-2F066B689FA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47C6D25-82C7-957E-EDC9-7CE443D7CC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7314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83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5E5CFCE9-DE4A-ABB8-4201-21BD1C7351F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234940"/>
            <a:ext cx="5688000" cy="28944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</p:spPr>
        <p:txBody>
          <a:bodyPr lIns="1080000" tIns="360000" rIns="1080000" bIns="36000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98109A41-70D4-2F10-01F3-7DA6D11A9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2098" y="3279182"/>
            <a:ext cx="5688000" cy="2894400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lIns="1080000" tIns="360000" rIns="1080000" bIns="36000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9" name="Text Placeholder 32">
            <a:extLst>
              <a:ext uri="{FF2B5EF4-FFF2-40B4-BE49-F238E27FC236}">
                <a16:creationId xmlns:a16="http://schemas.microsoft.com/office/drawing/2014/main" id="{618DEE45-2B99-1FEE-D2C4-97F4FAF1B8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9714" y="239159"/>
            <a:ext cx="5688000" cy="2894400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3"/>
          </a:solidFill>
        </p:spPr>
        <p:txBody>
          <a:bodyPr lIns="1080000" tIns="360000" rIns="1080000" bIns="360000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D14BDF0D-07D5-2F3A-0435-A85A556E6F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17012" y="3283401"/>
            <a:ext cx="5688000" cy="28944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4"/>
          </a:solidFill>
        </p:spPr>
        <p:txBody>
          <a:bodyPr lIns="1080000" tIns="360000" rIns="1080000" bIns="360000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3414DEC0-2C8C-4A18-2F1A-1AE57984C4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62766" y="1593647"/>
            <a:ext cx="3265208" cy="3265208"/>
          </a:xfrm>
          <a:prstGeom prst="ellipse">
            <a:avLst/>
          </a:prstGeom>
          <a:solidFill>
            <a:schemeClr val="bg1">
              <a:alpha val="50000"/>
            </a:schemeClr>
          </a:solidFill>
        </p:spPr>
        <p:txBody>
          <a:bodyPr lIns="360000" rIns="360000" anchor="ctr"/>
          <a:lstStyle>
            <a:lvl1pPr algn="ctr">
              <a:defRPr sz="2800" b="1">
                <a:solidFill>
                  <a:schemeClr val="tx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395338"/>
      </p:ext>
    </p:extLst>
  </p:cSld>
  <p:clrMapOvr>
    <a:masterClrMapping/>
  </p:clrMapOvr>
  <p:transition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54604E4-7C10-9FC4-6992-54C54601394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14355" y="2163696"/>
            <a:ext cx="2605091" cy="3293753"/>
          </a:xfrm>
          <a:prstGeom prst="round2DiagRect">
            <a:avLst/>
          </a:prstGeom>
          <a:solidFill>
            <a:schemeClr val="accent3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0BA5BECB-747E-8B07-51BF-DDCD722EF4F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7192" y="2163696"/>
            <a:ext cx="2605091" cy="3293753"/>
          </a:xfrm>
          <a:prstGeom prst="round2DiagRect">
            <a:avLst/>
          </a:prstGeom>
          <a:solidFill>
            <a:schemeClr val="accent4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126D2EF5-3F55-0A42-DD4E-320A9C6927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00028" y="2163696"/>
            <a:ext cx="2605091" cy="3293753"/>
          </a:xfrm>
          <a:prstGeom prst="round2DiagRect">
            <a:avLst/>
          </a:prstGeom>
          <a:solidFill>
            <a:schemeClr val="accent5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D5F4A8FA-C3A3-B3E0-D924-A3187912944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93876" y="2334223"/>
            <a:ext cx="1082714" cy="1082711"/>
          </a:xfrm>
          <a:prstGeom prst="ellipse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55E44DC8-BD32-5FEE-F262-F1F03B18E39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88408" y="2334223"/>
            <a:ext cx="1082714" cy="1082711"/>
          </a:xfrm>
          <a:prstGeom prst="ellipse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96703C84-BBE1-0DFD-2581-B09ADEC7BEF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82941" y="2334223"/>
            <a:ext cx="1082714" cy="1082711"/>
          </a:xfrm>
          <a:prstGeom prst="ellipse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91904201-0168-E3CE-A98B-CE0C53CCE32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21518" y="2163696"/>
            <a:ext cx="2605091" cy="3293753"/>
          </a:xfrm>
          <a:prstGeom prst="round2DiagRect">
            <a:avLst/>
          </a:prstGeom>
          <a:solidFill>
            <a:schemeClr val="accent2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7CAD41AD-D4C1-28B5-44EC-6ABC14F946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9344" y="2334223"/>
            <a:ext cx="1082714" cy="1082711"/>
          </a:xfrm>
          <a:prstGeom prst="ellipse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728741"/>
      </p:ext>
    </p:extLst>
  </p:cSld>
  <p:clrMapOvr>
    <a:masterClrMapping/>
  </p:clrMapOvr>
  <p:transition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779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A8814-CB5B-25A4-7336-0B0CAE5D60CC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C895D4F-0F7E-BDBE-130A-4CC9D2C9AB06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0A76B4A-D11D-83D8-7F3D-81B168AEE614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7E98F74-9FEC-C806-37B5-C988407159FE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869F9E9-3C2C-6A43-9ED6-E6B065B34EF8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9236CD9-498E-67BC-4B37-9048835FB21F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0EAC3E2-EA19-DA08-D777-8C8C7087ABA5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7A36DCD-B30C-E512-48FC-AB0412B3E37F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AC8CCC3-800A-EED7-B38D-76F55546558B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97C8F47-0A97-B7D3-A42F-47AFF94B6E8A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A534A68-5F58-5A92-4A0A-2ADFF3B8FA8E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D3EECB0-7005-FB5D-B345-B70AA1AFA7CD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1F5BBFC-6025-69CD-07B1-8963E8AA6CDD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3488040-2110-4D2D-91BD-7CB2EF980C23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8825A6C-5C52-87E2-6541-DB22CDB072F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783725" y="1651908"/>
            <a:ext cx="3109473" cy="512306"/>
          </a:xfrm>
          <a:prstGeom prst="homePlate">
            <a:avLst/>
          </a:prstGeom>
          <a:solidFill>
            <a:schemeClr val="accent3"/>
          </a:solidFill>
          <a:ln w="85725" cap="rnd">
            <a:solidFill>
              <a:schemeClr val="accent3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29836-9D55-D7E4-8924-AB3474508D1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962990" y="1651908"/>
            <a:ext cx="3109473" cy="512306"/>
          </a:xfrm>
          <a:prstGeom prst="homePlate">
            <a:avLst/>
          </a:prstGeom>
          <a:solidFill>
            <a:schemeClr val="accent5"/>
          </a:solidFill>
          <a:ln w="85725" cap="rnd">
            <a:solidFill>
              <a:schemeClr val="accent5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8A4C0-7761-1368-19FE-9A7A31E8CC0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142254" y="1651908"/>
            <a:ext cx="3109473" cy="512306"/>
          </a:xfrm>
          <a:prstGeom prst="homePlate">
            <a:avLst/>
          </a:prstGeom>
          <a:solidFill>
            <a:schemeClr val="accent4"/>
          </a:solidFill>
          <a:ln w="85725" cap="rnd">
            <a:solidFill>
              <a:schemeClr val="accent4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3BD34E-DB9E-E592-9D6F-DC30B3CF4B9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1518" y="1653952"/>
            <a:ext cx="3109473" cy="512306"/>
          </a:xfrm>
          <a:prstGeom prst="homePlate">
            <a:avLst/>
          </a:prstGeom>
          <a:solidFill>
            <a:schemeClr val="accent2"/>
          </a:solidFill>
          <a:ln w="85725" cap="rnd">
            <a:solidFill>
              <a:schemeClr val="accent2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A1C138D-FEAB-3598-043C-10AC4BD0256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216950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CE7B586-155F-6999-B17E-1C3928CBA5F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396215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336D4D1-18BE-1C32-6A27-3C2F0329C37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575479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0036D49-D80E-AECB-59E4-3EE35A7E8D0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54743" y="2346851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806617"/>
      </p:ext>
    </p:extLst>
  </p:cSld>
  <p:clrMapOvr>
    <a:masterClrMapping/>
  </p:clrMapOvr>
  <p:transition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fographic style (no lines artwo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779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8825A6C-5C52-87E2-6541-DB22CDB072F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783725" y="1651908"/>
            <a:ext cx="3109473" cy="512306"/>
          </a:xfrm>
          <a:prstGeom prst="homePlate">
            <a:avLst/>
          </a:prstGeom>
          <a:solidFill>
            <a:schemeClr val="accent3"/>
          </a:solidFill>
          <a:ln w="85725" cap="rnd">
            <a:solidFill>
              <a:schemeClr val="accent3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29836-9D55-D7E4-8924-AB3474508D1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962990" y="1651908"/>
            <a:ext cx="3109473" cy="512306"/>
          </a:xfrm>
          <a:prstGeom prst="homePlate">
            <a:avLst/>
          </a:prstGeom>
          <a:solidFill>
            <a:schemeClr val="accent5"/>
          </a:solidFill>
          <a:ln w="85725" cap="rnd">
            <a:solidFill>
              <a:schemeClr val="accent5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8A4C0-7761-1368-19FE-9A7A31E8CC0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142254" y="1651908"/>
            <a:ext cx="3109473" cy="512306"/>
          </a:xfrm>
          <a:prstGeom prst="homePlate">
            <a:avLst/>
          </a:prstGeom>
          <a:solidFill>
            <a:schemeClr val="accent4"/>
          </a:solidFill>
          <a:ln w="85725" cap="rnd">
            <a:solidFill>
              <a:schemeClr val="accent4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3BD34E-DB9E-E592-9D6F-DC30B3CF4B9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1518" y="1653952"/>
            <a:ext cx="3109473" cy="512306"/>
          </a:xfrm>
          <a:prstGeom prst="homePlate">
            <a:avLst/>
          </a:prstGeom>
          <a:solidFill>
            <a:schemeClr val="accent2"/>
          </a:solidFill>
          <a:ln w="85725" cap="rnd">
            <a:solidFill>
              <a:schemeClr val="accent2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A1C138D-FEAB-3598-043C-10AC4BD0256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216950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CE7B586-155F-6999-B17E-1C3928CBA5F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396215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336D4D1-18BE-1C32-6A27-3C2F0329C37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575479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0036D49-D80E-AECB-59E4-3EE35A7E8D0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54743" y="2346851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943523"/>
      </p:ext>
    </p:extLst>
  </p:cSld>
  <p:clrMapOvr>
    <a:masterClrMapping/>
  </p:clrMapOvr>
  <p:transition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D8FDC81-110F-0ADE-0740-B07FABEB4A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4298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107945B7-124A-9AD9-C138-1C96A3879E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03798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51E5B5E-6FF8-C876-04F2-34A567860F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53298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CC08023-BB59-B99A-0257-B64BAB1E4B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702800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0427C72-5527-C30F-9FB7-61E731484BD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04798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D5F4A8FA-C3A3-B3E0-D924-A3187912944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17610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55E44DC8-BD32-5FEE-F262-F1F03B18E39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67110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96703C84-BBE1-0DFD-2581-B09ADEC7BEF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16610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B5BD0598-3569-EB9A-FECB-03D68A1E49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266112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7CAD41AD-D4C1-28B5-44EC-6ABC14F946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68110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433741"/>
      </p:ext>
    </p:extLst>
  </p:cSld>
  <p:clrMapOvr>
    <a:masterClrMapping/>
  </p:clrMapOvr>
  <p:transition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07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FB94ED7-F661-9959-F4B8-642741D973F8}"/>
              </a:ext>
            </a:extLst>
          </p:cNvPr>
          <p:cNvSpPr/>
          <p:nvPr/>
        </p:nvSpPr>
        <p:spPr>
          <a:xfrm rot="10800000">
            <a:off x="10496098" y="-11928"/>
            <a:ext cx="1695902" cy="1747355"/>
          </a:xfrm>
          <a:custGeom>
            <a:avLst/>
            <a:gdLst>
              <a:gd name="connsiteX0" fmla="*/ 1572808 w 1572807"/>
              <a:gd name="connsiteY0" fmla="*/ 1620525 h 1620525"/>
              <a:gd name="connsiteX1" fmla="*/ 1564959 w 1572807"/>
              <a:gd name="connsiteY1" fmla="*/ 1620525 h 1620525"/>
              <a:gd name="connsiteX2" fmla="*/ 1564959 w 1572807"/>
              <a:gd name="connsiteY2" fmla="*/ 402149 h 1620525"/>
              <a:gd name="connsiteX3" fmla="*/ 1170659 w 1572807"/>
              <a:gd name="connsiteY3" fmla="*/ 7848 h 1620525"/>
              <a:gd name="connsiteX4" fmla="*/ 0 w 1572807"/>
              <a:gd name="connsiteY4" fmla="*/ 7848 h 1620525"/>
              <a:gd name="connsiteX5" fmla="*/ 0 w 1572807"/>
              <a:gd name="connsiteY5" fmla="*/ 0 h 1620525"/>
              <a:gd name="connsiteX6" fmla="*/ 1170659 w 1572807"/>
              <a:gd name="connsiteY6" fmla="*/ 0 h 1620525"/>
              <a:gd name="connsiteX7" fmla="*/ 1572808 w 1572807"/>
              <a:gd name="connsiteY7" fmla="*/ 402149 h 162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2807" h="1620525">
                <a:moveTo>
                  <a:pt x="1572808" y="1620525"/>
                </a:moveTo>
                <a:lnTo>
                  <a:pt x="1564959" y="1620525"/>
                </a:lnTo>
                <a:lnTo>
                  <a:pt x="1564959" y="402149"/>
                </a:lnTo>
                <a:cubicBezTo>
                  <a:pt x="1564959" y="184593"/>
                  <a:pt x="1388215" y="7848"/>
                  <a:pt x="1170659" y="7848"/>
                </a:cubicBezTo>
                <a:lnTo>
                  <a:pt x="0" y="7848"/>
                </a:lnTo>
                <a:lnTo>
                  <a:pt x="0" y="0"/>
                </a:lnTo>
                <a:lnTo>
                  <a:pt x="1170659" y="0"/>
                </a:lnTo>
                <a:cubicBezTo>
                  <a:pt x="1392610" y="0"/>
                  <a:pt x="1572808" y="180198"/>
                  <a:pt x="1572808" y="40214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B75FD7-7245-E3E0-4B2B-4C91ED3E606A}"/>
              </a:ext>
            </a:extLst>
          </p:cNvPr>
          <p:cNvSpPr/>
          <p:nvPr/>
        </p:nvSpPr>
        <p:spPr>
          <a:xfrm rot="10800000">
            <a:off x="10461572" y="524600"/>
            <a:ext cx="77178" cy="77516"/>
          </a:xfrm>
          <a:custGeom>
            <a:avLst/>
            <a:gdLst>
              <a:gd name="connsiteX0" fmla="*/ 71577 w 71576"/>
              <a:gd name="connsiteY0" fmla="*/ 36102 h 71890"/>
              <a:gd name="connsiteX1" fmla="*/ 35788 w 71576"/>
              <a:gd name="connsiteY1" fmla="*/ 71890 h 71890"/>
              <a:gd name="connsiteX2" fmla="*/ 0 w 71576"/>
              <a:gd name="connsiteY2" fmla="*/ 36102 h 71890"/>
              <a:gd name="connsiteX3" fmla="*/ 35788 w 71576"/>
              <a:gd name="connsiteY3" fmla="*/ 0 h 71890"/>
              <a:gd name="connsiteX4" fmla="*/ 71577 w 71576"/>
              <a:gd name="connsiteY4" fmla="*/ 36102 h 71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890">
                <a:moveTo>
                  <a:pt x="71577" y="36102"/>
                </a:moveTo>
                <a:cubicBezTo>
                  <a:pt x="71577" y="55880"/>
                  <a:pt x="55566" y="71890"/>
                  <a:pt x="35788" y="71890"/>
                </a:cubicBezTo>
                <a:cubicBezTo>
                  <a:pt x="16011" y="71890"/>
                  <a:pt x="0" y="55880"/>
                  <a:pt x="0" y="36102"/>
                </a:cubicBezTo>
                <a:cubicBezTo>
                  <a:pt x="0" y="16324"/>
                  <a:pt x="16011" y="0"/>
                  <a:pt x="35788" y="0"/>
                </a:cubicBezTo>
                <a:cubicBezTo>
                  <a:pt x="55566" y="0"/>
                  <a:pt x="71577" y="16324"/>
                  <a:pt x="71577" y="36102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C2C8E55E-B647-6390-1F08-23A789B44B99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6561328" y="2329154"/>
            <a:ext cx="4978402" cy="2997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6F9C2F7-23C6-7BBF-E3D7-393FF8F3BB6B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561328" y="1982503"/>
            <a:ext cx="49784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EC2C3-A751-10C0-230A-D02E2F919E4D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rgbClr val="FCFCFD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F160CDA-D43C-87E8-33BC-D670AAD4FC2F}"/>
              </a:ext>
            </a:extLst>
          </p:cNvPr>
          <p:cNvSpPr/>
          <p:nvPr/>
        </p:nvSpPr>
        <p:spPr>
          <a:xfrm rot="10800000" flipV="1">
            <a:off x="9117505" y="-11930"/>
            <a:ext cx="3078689" cy="1361123"/>
          </a:xfrm>
          <a:custGeom>
            <a:avLst/>
            <a:gdLst>
              <a:gd name="connsiteX0" fmla="*/ 2453078 w 2855226"/>
              <a:gd name="connsiteY0" fmla="*/ 1262327 h 1262327"/>
              <a:gd name="connsiteX1" fmla="*/ 0 w 2855226"/>
              <a:gd name="connsiteY1" fmla="*/ 1262327 h 1262327"/>
              <a:gd name="connsiteX2" fmla="*/ 0 w 2855226"/>
              <a:gd name="connsiteY2" fmla="*/ 1254479 h 1262327"/>
              <a:gd name="connsiteX3" fmla="*/ 2453078 w 2855226"/>
              <a:gd name="connsiteY3" fmla="*/ 1254479 h 1262327"/>
              <a:gd name="connsiteX4" fmla="*/ 2847064 w 2855226"/>
              <a:gd name="connsiteY4" fmla="*/ 860178 h 1262327"/>
              <a:gd name="connsiteX5" fmla="*/ 2847064 w 2855226"/>
              <a:gd name="connsiteY5" fmla="*/ 0 h 1262327"/>
              <a:gd name="connsiteX6" fmla="*/ 2855227 w 2855226"/>
              <a:gd name="connsiteY6" fmla="*/ 0 h 1262327"/>
              <a:gd name="connsiteX7" fmla="*/ 2855227 w 2855226"/>
              <a:gd name="connsiteY7" fmla="*/ 860178 h 1262327"/>
              <a:gd name="connsiteX8" fmla="*/ 2453078 w 2855226"/>
              <a:gd name="connsiteY8" fmla="*/ 1262327 h 1262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55226" h="1262327">
                <a:moveTo>
                  <a:pt x="2453078" y="1262327"/>
                </a:moveTo>
                <a:lnTo>
                  <a:pt x="0" y="1262327"/>
                </a:lnTo>
                <a:lnTo>
                  <a:pt x="0" y="1254479"/>
                </a:lnTo>
                <a:lnTo>
                  <a:pt x="2453078" y="1254479"/>
                </a:lnTo>
                <a:cubicBezTo>
                  <a:pt x="2670320" y="1254479"/>
                  <a:pt x="2847064" y="1077420"/>
                  <a:pt x="2847064" y="860178"/>
                </a:cubicBezTo>
                <a:lnTo>
                  <a:pt x="2847064" y="0"/>
                </a:lnTo>
                <a:lnTo>
                  <a:pt x="2855227" y="0"/>
                </a:lnTo>
                <a:lnTo>
                  <a:pt x="2855227" y="860178"/>
                </a:lnTo>
                <a:cubicBezTo>
                  <a:pt x="2855227" y="1081815"/>
                  <a:pt x="2674715" y="1262327"/>
                  <a:pt x="2453078" y="1262327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2A4AA833-AB5F-A1A5-5D62-1795608F3338}"/>
              </a:ext>
            </a:extLst>
          </p:cNvPr>
          <p:cNvSpPr/>
          <p:nvPr/>
        </p:nvSpPr>
        <p:spPr>
          <a:xfrm rot="10800000" flipV="1">
            <a:off x="5678311" y="-11930"/>
            <a:ext cx="4366694" cy="2503234"/>
          </a:xfrm>
          <a:custGeom>
            <a:avLst/>
            <a:gdLst>
              <a:gd name="connsiteX0" fmla="*/ 4049744 w 4049743"/>
              <a:gd name="connsiteY0" fmla="*/ 2321539 h 2321539"/>
              <a:gd name="connsiteX1" fmla="*/ 2600312 w 4049743"/>
              <a:gd name="connsiteY1" fmla="*/ 2321539 h 2321539"/>
              <a:gd name="connsiteX2" fmla="*/ 2198164 w 4049743"/>
              <a:gd name="connsiteY2" fmla="*/ 1919390 h 2321539"/>
              <a:gd name="connsiteX3" fmla="*/ 2198164 w 4049743"/>
              <a:gd name="connsiteY3" fmla="*/ 1146800 h 2321539"/>
              <a:gd name="connsiteX4" fmla="*/ 1803863 w 4049743"/>
              <a:gd name="connsiteY4" fmla="*/ 752499 h 2321539"/>
              <a:gd name="connsiteX5" fmla="*/ 402149 w 4049743"/>
              <a:gd name="connsiteY5" fmla="*/ 752499 h 2321539"/>
              <a:gd name="connsiteX6" fmla="*/ 0 w 4049743"/>
              <a:gd name="connsiteY6" fmla="*/ 350350 h 2321539"/>
              <a:gd name="connsiteX7" fmla="*/ 0 w 4049743"/>
              <a:gd name="connsiteY7" fmla="*/ 0 h 2321539"/>
              <a:gd name="connsiteX8" fmla="*/ 7848 w 4049743"/>
              <a:gd name="connsiteY8" fmla="*/ 0 h 2321539"/>
              <a:gd name="connsiteX9" fmla="*/ 7848 w 4049743"/>
              <a:gd name="connsiteY9" fmla="*/ 350350 h 2321539"/>
              <a:gd name="connsiteX10" fmla="*/ 402149 w 4049743"/>
              <a:gd name="connsiteY10" fmla="*/ 744651 h 2321539"/>
              <a:gd name="connsiteX11" fmla="*/ 1803863 w 4049743"/>
              <a:gd name="connsiteY11" fmla="*/ 744651 h 2321539"/>
              <a:gd name="connsiteX12" fmla="*/ 2206012 w 4049743"/>
              <a:gd name="connsiteY12" fmla="*/ 1146800 h 2321539"/>
              <a:gd name="connsiteX13" fmla="*/ 2206012 w 4049743"/>
              <a:gd name="connsiteY13" fmla="*/ 1919390 h 2321539"/>
              <a:gd name="connsiteX14" fmla="*/ 2600312 w 4049743"/>
              <a:gd name="connsiteY14" fmla="*/ 2313691 h 2321539"/>
              <a:gd name="connsiteX15" fmla="*/ 4049744 w 4049743"/>
              <a:gd name="connsiteY15" fmla="*/ 2313691 h 2321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49743" h="2321539">
                <a:moveTo>
                  <a:pt x="4049744" y="2321539"/>
                </a:moveTo>
                <a:lnTo>
                  <a:pt x="2600312" y="2321539"/>
                </a:lnTo>
                <a:cubicBezTo>
                  <a:pt x="2378675" y="2321539"/>
                  <a:pt x="2198164" y="2141028"/>
                  <a:pt x="2198164" y="1919390"/>
                </a:cubicBezTo>
                <a:lnTo>
                  <a:pt x="2198164" y="1146800"/>
                </a:lnTo>
                <a:cubicBezTo>
                  <a:pt x="2198164" y="929557"/>
                  <a:pt x="2021105" y="752499"/>
                  <a:pt x="1803863" y="752499"/>
                </a:cubicBezTo>
                <a:lnTo>
                  <a:pt x="402149" y="752499"/>
                </a:lnTo>
                <a:cubicBezTo>
                  <a:pt x="180512" y="752499"/>
                  <a:pt x="0" y="572301"/>
                  <a:pt x="0" y="350350"/>
                </a:cubicBezTo>
                <a:lnTo>
                  <a:pt x="0" y="0"/>
                </a:lnTo>
                <a:lnTo>
                  <a:pt x="7848" y="0"/>
                </a:lnTo>
                <a:lnTo>
                  <a:pt x="7848" y="350350"/>
                </a:lnTo>
                <a:cubicBezTo>
                  <a:pt x="7848" y="567906"/>
                  <a:pt x="184907" y="744651"/>
                  <a:pt x="402149" y="744651"/>
                </a:cubicBezTo>
                <a:lnTo>
                  <a:pt x="1803863" y="744651"/>
                </a:lnTo>
                <a:cubicBezTo>
                  <a:pt x="2025500" y="744651"/>
                  <a:pt x="2206012" y="925162"/>
                  <a:pt x="2206012" y="1146800"/>
                </a:cubicBezTo>
                <a:lnTo>
                  <a:pt x="2206012" y="1919390"/>
                </a:lnTo>
                <a:cubicBezTo>
                  <a:pt x="2206012" y="2136632"/>
                  <a:pt x="2383071" y="2313691"/>
                  <a:pt x="2600312" y="2313691"/>
                </a:cubicBezTo>
                <a:lnTo>
                  <a:pt x="4049744" y="231369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D075F759-5FB6-5312-8DBC-8C55D04662BA}"/>
              </a:ext>
            </a:extLst>
          </p:cNvPr>
          <p:cNvSpPr/>
          <p:nvPr/>
        </p:nvSpPr>
        <p:spPr>
          <a:xfrm rot="10800000" flipV="1">
            <a:off x="10143848" y="2757706"/>
            <a:ext cx="2052346" cy="8462"/>
          </a:xfrm>
          <a:custGeom>
            <a:avLst/>
            <a:gdLst>
              <a:gd name="connsiteX0" fmla="*/ 1903380 w 1903379"/>
              <a:gd name="connsiteY0" fmla="*/ 7848 h 7848"/>
              <a:gd name="connsiteX1" fmla="*/ 0 w 1903379"/>
              <a:gd name="connsiteY1" fmla="*/ 7848 h 7848"/>
              <a:gd name="connsiteX2" fmla="*/ 0 w 1903379"/>
              <a:gd name="connsiteY2" fmla="*/ 0 h 7848"/>
              <a:gd name="connsiteX3" fmla="*/ 1903380 w 1903379"/>
              <a:gd name="connsiteY3" fmla="*/ 0 h 7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379" h="7848">
                <a:moveTo>
                  <a:pt x="1903380" y="7848"/>
                </a:moveTo>
                <a:lnTo>
                  <a:pt x="0" y="7848"/>
                </a:lnTo>
                <a:lnTo>
                  <a:pt x="0" y="0"/>
                </a:lnTo>
                <a:lnTo>
                  <a:pt x="190338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C462D35-964A-96DC-03CA-27B200AAA61C}"/>
              </a:ext>
            </a:extLst>
          </p:cNvPr>
          <p:cNvSpPr/>
          <p:nvPr/>
        </p:nvSpPr>
        <p:spPr>
          <a:xfrm rot="10800000" flipV="1">
            <a:off x="8714010" y="756472"/>
            <a:ext cx="77179" cy="77516"/>
          </a:xfrm>
          <a:custGeom>
            <a:avLst/>
            <a:gdLst>
              <a:gd name="connsiteX0" fmla="*/ 71577 w 71577"/>
              <a:gd name="connsiteY0" fmla="*/ 36102 h 71890"/>
              <a:gd name="connsiteX1" fmla="*/ 35789 w 71577"/>
              <a:gd name="connsiteY1" fmla="*/ 71891 h 71890"/>
              <a:gd name="connsiteX2" fmla="*/ 0 w 71577"/>
              <a:gd name="connsiteY2" fmla="*/ 36102 h 71890"/>
              <a:gd name="connsiteX3" fmla="*/ 35789 w 71577"/>
              <a:gd name="connsiteY3" fmla="*/ 0 h 71890"/>
              <a:gd name="connsiteX4" fmla="*/ 71577 w 71577"/>
              <a:gd name="connsiteY4" fmla="*/ 36102 h 71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7" h="71890">
                <a:moveTo>
                  <a:pt x="71577" y="36102"/>
                </a:moveTo>
                <a:cubicBezTo>
                  <a:pt x="71577" y="55880"/>
                  <a:pt x="55566" y="71891"/>
                  <a:pt x="35789" y="71891"/>
                </a:cubicBezTo>
                <a:cubicBezTo>
                  <a:pt x="16011" y="71891"/>
                  <a:pt x="0" y="55880"/>
                  <a:pt x="0" y="36102"/>
                </a:cubicBezTo>
                <a:cubicBezTo>
                  <a:pt x="0" y="16325"/>
                  <a:pt x="16011" y="0"/>
                  <a:pt x="35789" y="0"/>
                </a:cubicBezTo>
                <a:cubicBezTo>
                  <a:pt x="55566" y="0"/>
                  <a:pt x="71577" y="16325"/>
                  <a:pt x="71577" y="36102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21A0CD4-FE7A-B0F9-12DA-2B4F19F8AAAD}"/>
              </a:ext>
            </a:extLst>
          </p:cNvPr>
          <p:cNvSpPr/>
          <p:nvPr/>
        </p:nvSpPr>
        <p:spPr>
          <a:xfrm rot="10800000" flipV="1">
            <a:off x="10294145" y="1306202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9 w 71576"/>
              <a:gd name="connsiteY1" fmla="*/ 71577 h 71576"/>
              <a:gd name="connsiteX2" fmla="*/ 0 w 71576"/>
              <a:gd name="connsiteY2" fmla="*/ 35788 h 71576"/>
              <a:gd name="connsiteX3" fmla="*/ 35789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9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9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FA0E8D24-BA19-D4AE-744B-55DEAA32C6AD}"/>
              </a:ext>
            </a:extLst>
          </p:cNvPr>
          <p:cNvSpPr/>
          <p:nvPr/>
        </p:nvSpPr>
        <p:spPr>
          <a:xfrm rot="10800000" flipV="1">
            <a:off x="11255833" y="2723179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8 w 71576"/>
              <a:gd name="connsiteY1" fmla="*/ 71577 h 71576"/>
              <a:gd name="connsiteX2" fmla="*/ 0 w 71576"/>
              <a:gd name="connsiteY2" fmla="*/ 35788 h 71576"/>
              <a:gd name="connsiteX3" fmla="*/ 35788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1D0C353-02C7-6D2B-86E0-4073E45C4CF0}"/>
              </a:ext>
            </a:extLst>
          </p:cNvPr>
          <p:cNvGrpSpPr/>
          <p:nvPr userDrawn="1"/>
        </p:nvGrpSpPr>
        <p:grpSpPr>
          <a:xfrm>
            <a:off x="4442606" y="3569436"/>
            <a:ext cx="7672216" cy="3288564"/>
            <a:chOff x="5618264" y="4298914"/>
            <a:chExt cx="6577930" cy="255908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989E85E-A138-6A1E-3A42-15DA57F9FA01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0E5F3EE-F8CF-64BE-8C08-DCEC923B13AA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F2740B-E3A6-8B75-FC42-9A26981FC994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0A43D64-A64F-0ABD-E48B-F52F886E0DD6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92DD9D8-022A-0F57-1E4E-3FD087178C08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926C0BA-A2FB-3700-4757-2C898B343143}"/>
                </a:ext>
              </a:extLst>
            </p:cNvPr>
            <p:cNvSpPr/>
            <p:nvPr/>
          </p:nvSpPr>
          <p:spPr>
            <a:xfrm rot="10800000" flipV="1">
              <a:off x="10500292" y="5110644"/>
              <a:ext cx="1695902" cy="1747356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9D5B09B-BB1C-3EA2-EC88-615B61B34A5B}"/>
                </a:ext>
              </a:extLst>
            </p:cNvPr>
            <p:cNvSpPr/>
            <p:nvPr/>
          </p:nvSpPr>
          <p:spPr>
            <a:xfrm rot="10800000" flipV="1">
              <a:off x="10465766" y="6243956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DC5A141-A974-1098-4635-C08B65B59EED}"/>
              </a:ext>
            </a:extLst>
          </p:cNvPr>
          <p:cNvSpPr/>
          <p:nvPr/>
        </p:nvSpPr>
        <p:spPr>
          <a:xfrm rot="10800000" flipV="1">
            <a:off x="10087995" y="2705915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AFD2655-A0BF-4E45-3F64-8B3F896684F3}"/>
              </a:ext>
            </a:extLst>
          </p:cNvPr>
          <p:cNvSpPr/>
          <p:nvPr userDrawn="1"/>
        </p:nvSpPr>
        <p:spPr>
          <a:xfrm rot="10800000" flipV="1">
            <a:off x="5622458" y="2435451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48" name="Text Placeholder 33">
            <a:extLst>
              <a:ext uri="{FF2B5EF4-FFF2-40B4-BE49-F238E27FC236}">
                <a16:creationId xmlns:a16="http://schemas.microsoft.com/office/drawing/2014/main" id="{0710F6B4-2E29-700F-5CC3-A0948732F7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77693" y="1719010"/>
            <a:ext cx="1379243" cy="1161770"/>
          </a:xfrm>
          <a:prstGeom prst="flowChartPreparation">
            <a:avLst/>
          </a:prstGeom>
          <a:solidFill>
            <a:schemeClr val="accent3"/>
          </a:solidFill>
          <a:ln w="254000">
            <a:solidFill>
              <a:schemeClr val="accent3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9" name="Text Placeholder 34">
            <a:extLst>
              <a:ext uri="{FF2B5EF4-FFF2-40B4-BE49-F238E27FC236}">
                <a16:creationId xmlns:a16="http://schemas.microsoft.com/office/drawing/2014/main" id="{B3E82127-C5FC-5328-B0F4-AE553BA90B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2270" y="2493681"/>
            <a:ext cx="1379243" cy="1161770"/>
          </a:xfrm>
          <a:prstGeom prst="flowChartPreparation">
            <a:avLst/>
          </a:prstGeom>
          <a:solidFill>
            <a:schemeClr val="accent4"/>
          </a:solidFill>
          <a:ln w="254000">
            <a:solidFill>
              <a:schemeClr val="accent4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0" name="Text Placeholder 35">
            <a:extLst>
              <a:ext uri="{FF2B5EF4-FFF2-40B4-BE49-F238E27FC236}">
                <a16:creationId xmlns:a16="http://schemas.microsoft.com/office/drawing/2014/main" id="{2E2DC8C3-3F3B-B76B-3A07-F4771A517F3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94581" y="3254579"/>
            <a:ext cx="1379243" cy="1161770"/>
          </a:xfrm>
          <a:prstGeom prst="flowChartPreparation">
            <a:avLst/>
          </a:prstGeom>
          <a:solidFill>
            <a:schemeClr val="accent5"/>
          </a:solidFill>
          <a:ln w="254000">
            <a:solidFill>
              <a:schemeClr val="accent5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949B3587-DE45-35C5-54EB-38E340BD10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7969" y="4036870"/>
            <a:ext cx="1379243" cy="1161770"/>
          </a:xfrm>
          <a:prstGeom prst="flowChartPreparation">
            <a:avLst/>
          </a:prstGeom>
          <a:solidFill>
            <a:schemeClr val="accent6"/>
          </a:solidFill>
          <a:ln w="254000">
            <a:solidFill>
              <a:schemeClr val="accent6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E70D17B4-17ED-9234-C0D4-B2DC30B14E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4764" y="2465385"/>
            <a:ext cx="1379243" cy="1161770"/>
          </a:xfrm>
          <a:prstGeom prst="flowChartPreparation">
            <a:avLst/>
          </a:prstGeom>
          <a:solidFill>
            <a:schemeClr val="accent2"/>
          </a:solidFill>
          <a:ln w="254000">
            <a:solidFill>
              <a:schemeClr val="accent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3" name="Rectangle 5">
            <a:extLst>
              <a:ext uri="{FF2B5EF4-FFF2-40B4-BE49-F238E27FC236}">
                <a16:creationId xmlns:a16="http://schemas.microsoft.com/office/drawing/2014/main" id="{43F8D224-DAA7-D238-ECB5-46CE1513E5D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54" name="Foliennummernplatzhalter 3">
            <a:extLst>
              <a:ext uri="{FF2B5EF4-FFF2-40B4-BE49-F238E27FC236}">
                <a16:creationId xmlns:a16="http://schemas.microsoft.com/office/drawing/2014/main" id="{028098F2-DB98-8703-D065-88D4A0FC28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280919"/>
      </p:ext>
    </p:extLst>
  </p:cSld>
  <p:clrMapOvr>
    <a:masterClrMapping/>
  </p:clrMapOvr>
  <p:transition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Infographic style (no lines artwo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07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C2C8E55E-B647-6390-1F08-23A789B44B99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6561328" y="2329154"/>
            <a:ext cx="4978402" cy="2997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6F9C2F7-23C6-7BBF-E3D7-393FF8F3BB6B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561328" y="1982503"/>
            <a:ext cx="49784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EC2C3-A751-10C0-230A-D02E2F919E4D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rgbClr val="FCFCFD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33">
            <a:extLst>
              <a:ext uri="{FF2B5EF4-FFF2-40B4-BE49-F238E27FC236}">
                <a16:creationId xmlns:a16="http://schemas.microsoft.com/office/drawing/2014/main" id="{0710F6B4-2E29-700F-5CC3-A0948732F7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77693" y="1719010"/>
            <a:ext cx="1379243" cy="1161770"/>
          </a:xfrm>
          <a:prstGeom prst="flowChartPreparation">
            <a:avLst/>
          </a:prstGeom>
          <a:solidFill>
            <a:schemeClr val="accent3"/>
          </a:solidFill>
          <a:ln w="254000">
            <a:solidFill>
              <a:schemeClr val="accent3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9" name="Text Placeholder 34">
            <a:extLst>
              <a:ext uri="{FF2B5EF4-FFF2-40B4-BE49-F238E27FC236}">
                <a16:creationId xmlns:a16="http://schemas.microsoft.com/office/drawing/2014/main" id="{B3E82127-C5FC-5328-B0F4-AE553BA90B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2270" y="2493681"/>
            <a:ext cx="1379243" cy="1161770"/>
          </a:xfrm>
          <a:prstGeom prst="flowChartPreparation">
            <a:avLst/>
          </a:prstGeom>
          <a:solidFill>
            <a:schemeClr val="accent4"/>
          </a:solidFill>
          <a:ln w="254000">
            <a:solidFill>
              <a:schemeClr val="accent4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0" name="Text Placeholder 35">
            <a:extLst>
              <a:ext uri="{FF2B5EF4-FFF2-40B4-BE49-F238E27FC236}">
                <a16:creationId xmlns:a16="http://schemas.microsoft.com/office/drawing/2014/main" id="{2E2DC8C3-3F3B-B76B-3A07-F4771A517F3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94581" y="3254579"/>
            <a:ext cx="1379243" cy="1161770"/>
          </a:xfrm>
          <a:prstGeom prst="flowChartPreparation">
            <a:avLst/>
          </a:prstGeom>
          <a:solidFill>
            <a:schemeClr val="accent5"/>
          </a:solidFill>
          <a:ln w="254000">
            <a:solidFill>
              <a:schemeClr val="accent5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949B3587-DE45-35C5-54EB-38E340BD10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7969" y="4036870"/>
            <a:ext cx="1379243" cy="1161770"/>
          </a:xfrm>
          <a:prstGeom prst="flowChartPreparation">
            <a:avLst/>
          </a:prstGeom>
          <a:solidFill>
            <a:schemeClr val="accent6"/>
          </a:solidFill>
          <a:ln w="254000">
            <a:solidFill>
              <a:schemeClr val="accent6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E70D17B4-17ED-9234-C0D4-B2DC30B14E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4764" y="2465385"/>
            <a:ext cx="1379243" cy="1161770"/>
          </a:xfrm>
          <a:prstGeom prst="flowChartPreparation">
            <a:avLst/>
          </a:prstGeom>
          <a:solidFill>
            <a:schemeClr val="accent2"/>
          </a:solidFill>
          <a:ln w="254000">
            <a:solidFill>
              <a:schemeClr val="accent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3" name="Rectangle 5">
            <a:extLst>
              <a:ext uri="{FF2B5EF4-FFF2-40B4-BE49-F238E27FC236}">
                <a16:creationId xmlns:a16="http://schemas.microsoft.com/office/drawing/2014/main" id="{43F8D224-DAA7-D238-ECB5-46CE1513E5D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54" name="Foliennummernplatzhalter 3">
            <a:extLst>
              <a:ext uri="{FF2B5EF4-FFF2-40B4-BE49-F238E27FC236}">
                <a16:creationId xmlns:a16="http://schemas.microsoft.com/office/drawing/2014/main" id="{028098F2-DB98-8703-D065-88D4A0FC28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044247"/>
      </p:ext>
    </p:extLst>
  </p:cSld>
  <p:clrMapOvr>
    <a:masterClrMapping/>
  </p:clrMapOvr>
  <p:transition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15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E786845-1067-C938-B671-187C2AA40AB1}"/>
              </a:ext>
            </a:extLst>
          </p:cNvPr>
          <p:cNvCxnSpPr/>
          <p:nvPr userDrawn="1"/>
        </p:nvCxnSpPr>
        <p:spPr>
          <a:xfrm>
            <a:off x="0" y="3633068"/>
            <a:ext cx="12180888" cy="0"/>
          </a:xfrm>
          <a:prstGeom prst="line">
            <a:avLst/>
          </a:prstGeom>
          <a:ln w="177800">
            <a:gradFill>
              <a:gsLst>
                <a:gs pos="7743">
                  <a:srgbClr val="EBEBEB"/>
                </a:gs>
                <a:gs pos="0">
                  <a:schemeClr val="bg1"/>
                </a:gs>
                <a:gs pos="89000">
                  <a:schemeClr val="accent6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D8FDC81-110F-0ADE-0740-B07FABEB4A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4298" y="1157043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b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107945B7-124A-9AD9-C138-1C96A3879E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03798" y="4390458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51E5B5E-6FF8-C876-04F2-34A567860F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53298" y="1157043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b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CC08023-BB59-B99A-0257-B64BAB1E4B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702800" y="4390458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0427C72-5527-C30F-9FB7-61E731484BD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04798" y="4390458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FBED1DB-4876-F350-2482-02EB955FE201}"/>
              </a:ext>
            </a:extLst>
          </p:cNvPr>
          <p:cNvSpPr/>
          <p:nvPr userDrawn="1"/>
        </p:nvSpPr>
        <p:spPr>
          <a:xfrm>
            <a:off x="887283" y="3107232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D96FB5E-5532-728C-96BD-33970FF97D34}"/>
              </a:ext>
            </a:extLst>
          </p:cNvPr>
          <p:cNvSpPr/>
          <p:nvPr userDrawn="1"/>
        </p:nvSpPr>
        <p:spPr>
          <a:xfrm>
            <a:off x="3236783" y="3108123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B7154EE-4BDF-4B4B-7067-83290D817A6C}"/>
              </a:ext>
            </a:extLst>
          </p:cNvPr>
          <p:cNvSpPr/>
          <p:nvPr userDrawn="1"/>
        </p:nvSpPr>
        <p:spPr>
          <a:xfrm>
            <a:off x="5605456" y="3107232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C62F83F-D8EE-5437-B6C9-DECD3CD08C35}"/>
              </a:ext>
            </a:extLst>
          </p:cNvPr>
          <p:cNvSpPr/>
          <p:nvPr userDrawn="1"/>
        </p:nvSpPr>
        <p:spPr>
          <a:xfrm>
            <a:off x="7935783" y="3126407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9B16025-0E24-50FE-3DEA-0DAE7758FD45}"/>
              </a:ext>
            </a:extLst>
          </p:cNvPr>
          <p:cNvSpPr/>
          <p:nvPr userDrawn="1"/>
        </p:nvSpPr>
        <p:spPr>
          <a:xfrm>
            <a:off x="10282236" y="3116757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EDCED410-22B4-73D2-9B79-FD4A16AD2C8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6141228">
            <a:off x="3217610" y="3088057"/>
            <a:ext cx="1080000" cy="1080000"/>
          </a:xfrm>
          <a:prstGeom prst="arc">
            <a:avLst>
              <a:gd name="adj1" fmla="val 2773640"/>
              <a:gd name="adj2" fmla="val 0"/>
            </a:avLst>
          </a:prstGeom>
          <a:solidFill>
            <a:schemeClr val="bg1"/>
          </a:solidFill>
          <a:ln w="3175">
            <a:solidFill>
              <a:schemeClr val="accent3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BB8BB45-79A3-BA6C-0EEC-1450DB98CB3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19193948">
            <a:off x="5567110" y="3088057"/>
            <a:ext cx="1080000" cy="1080000"/>
          </a:xfrm>
          <a:prstGeom prst="arc">
            <a:avLst>
              <a:gd name="adj1" fmla="val 9154416"/>
              <a:gd name="adj2" fmla="val 6576737"/>
            </a:avLst>
          </a:prstGeom>
          <a:solidFill>
            <a:schemeClr val="bg1"/>
          </a:solidFill>
          <a:ln w="3175">
            <a:solidFill>
              <a:schemeClr val="accent4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D21B224-ABED-A83F-DFFB-C65E5D6499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16610" y="3088057"/>
            <a:ext cx="1080000" cy="1080000"/>
          </a:xfrm>
          <a:prstGeom prst="arc">
            <a:avLst>
              <a:gd name="adj1" fmla="val 3653648"/>
              <a:gd name="adj2" fmla="val 1409728"/>
            </a:avLst>
          </a:prstGeom>
          <a:solidFill>
            <a:schemeClr val="bg1"/>
          </a:solidFill>
          <a:ln w="3175">
            <a:solidFill>
              <a:schemeClr val="accent5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75478422-C412-B756-EEC7-D1C8800BE83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266110" y="3088057"/>
            <a:ext cx="1080000" cy="1080000"/>
          </a:xfrm>
          <a:prstGeom prst="arc">
            <a:avLst>
              <a:gd name="adj1" fmla="val 19435279"/>
              <a:gd name="adj2" fmla="val 17811453"/>
            </a:avLst>
          </a:prstGeom>
          <a:solidFill>
            <a:schemeClr val="bg1"/>
          </a:solidFill>
          <a:ln w="3175">
            <a:solidFill>
              <a:schemeClr val="accent6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1C276974-E6B5-9E99-63B0-0BB551748D2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68110" y="3088057"/>
            <a:ext cx="1080000" cy="1080000"/>
          </a:xfrm>
          <a:prstGeom prst="arc">
            <a:avLst>
              <a:gd name="adj1" fmla="val 16200000"/>
              <a:gd name="adj2" fmla="val 12799477"/>
            </a:avLst>
          </a:prstGeom>
          <a:solidFill>
            <a:schemeClr val="bg1"/>
          </a:solidFill>
          <a:ln w="3175">
            <a:solidFill>
              <a:schemeClr val="accent2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28275"/>
      </p:ext>
    </p:extLst>
  </p:cSld>
  <p:clrMapOvr>
    <a:masterClrMapping/>
  </p:clrMapOvr>
  <p:transition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01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8053" y="3077902"/>
            <a:ext cx="3209498" cy="169253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9990" y="2257425"/>
            <a:ext cx="3209498" cy="615553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CFB1E058-BE55-0E9E-3F2B-05B3508D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5" t="15260" r="16178" b="14327"/>
          <a:stretch/>
        </p:blipFill>
        <p:spPr>
          <a:xfrm>
            <a:off x="4415971" y="1005839"/>
            <a:ext cx="2794001" cy="5166361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4E25861-CA24-B414-F77D-F3804EA5E07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66785" y="2257425"/>
            <a:ext cx="2300287" cy="2513012"/>
          </a:xfrm>
          <a:prstGeom prst="roundRect">
            <a:avLst>
              <a:gd name="adj" fmla="val 22599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9D06EA2B-1296-2908-15DA-D271868797B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576457" y="1800322"/>
            <a:ext cx="986972" cy="914206"/>
          </a:xfrm>
          <a:prstGeom prst="round2DiagRect">
            <a:avLst>
              <a:gd name="adj1" fmla="val 26669"/>
              <a:gd name="adj2" fmla="val 0"/>
            </a:avLst>
          </a:prstGeom>
          <a:solidFill>
            <a:schemeClr val="accent3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004705F2-788D-7CF5-E82F-87573ACC25C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 flipH="1">
            <a:off x="7576457" y="3124395"/>
            <a:ext cx="986972" cy="914206"/>
          </a:xfrm>
          <a:prstGeom prst="round2DiagRect">
            <a:avLst>
              <a:gd name="adj1" fmla="val 30829"/>
              <a:gd name="adj2" fmla="val 0"/>
            </a:avLst>
          </a:prstGeom>
          <a:solidFill>
            <a:schemeClr val="accent5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1CB91E0-53D1-C909-8052-B120F75ED0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576457" y="4448468"/>
            <a:ext cx="986972" cy="914206"/>
          </a:xfrm>
          <a:prstGeom prst="round2DiagRect">
            <a:avLst>
              <a:gd name="adj1" fmla="val 30006"/>
              <a:gd name="adj2" fmla="val 0"/>
            </a:avLst>
          </a:prstGeom>
          <a:solidFill>
            <a:schemeClr val="accent4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F494B66E-2B55-EB75-B647-D1D0B3B783B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735453" y="1800322"/>
            <a:ext cx="3162860" cy="914206"/>
          </a:xfrm>
          <a:prstGeom prst="rect">
            <a:avLst/>
          </a:prstGeom>
          <a:noFill/>
        </p:spPr>
        <p:txBody>
          <a:bodyPr wrap="square" lIns="0" tIns="0" r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cap="none" baseline="0">
                <a:solidFill>
                  <a:schemeClr val="accent6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8DEA45EB-D7A4-166F-7099-C1361072F7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 flipH="1">
            <a:off x="8735452" y="3124395"/>
            <a:ext cx="3162860" cy="914206"/>
          </a:xfrm>
          <a:prstGeom prst="rect">
            <a:avLst/>
          </a:prstGeom>
          <a:noFill/>
        </p:spPr>
        <p:txBody>
          <a:bodyPr wrap="square" lIns="0" tIns="0" r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cap="none" baseline="0">
                <a:solidFill>
                  <a:schemeClr val="accent6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8F74D723-562B-D674-8AD4-142234B794F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35453" y="4448468"/>
            <a:ext cx="3162860" cy="914206"/>
          </a:xfrm>
          <a:prstGeom prst="rect">
            <a:avLst/>
          </a:prstGeom>
          <a:noFill/>
        </p:spPr>
        <p:txBody>
          <a:bodyPr wrap="square" lIns="0" tIns="0" r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cap="none" baseline="0">
                <a:solidFill>
                  <a:schemeClr val="accent6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280A818-5DB5-2088-8B83-527F9FDEDD82}"/>
              </a:ext>
            </a:extLst>
          </p:cNvPr>
          <p:cNvSpPr/>
          <p:nvPr userDrawn="1"/>
        </p:nvSpPr>
        <p:spPr>
          <a:xfrm>
            <a:off x="568054" y="2963461"/>
            <a:ext cx="3209498" cy="18000"/>
          </a:xfrm>
          <a:prstGeom prst="rect">
            <a:avLst/>
          </a:prstGeom>
          <a:gradFill>
            <a:gsLst>
              <a:gs pos="0">
                <a:schemeClr val="accent2"/>
              </a:gs>
              <a:gs pos="56348">
                <a:schemeClr val="accent2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551765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8A9E8260-0153-2B3D-0431-0C2D3572996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92100" y="1130300"/>
            <a:ext cx="11588400" cy="50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653054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le and conten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8A9E8260-0153-2B3D-0431-0C2D3572996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92100" y="1130300"/>
            <a:ext cx="11588400" cy="50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F457993-6426-D0A0-85B3-E23D2652CE31}"/>
              </a:ext>
            </a:extLst>
          </p:cNvPr>
          <p:cNvGrpSpPr/>
          <p:nvPr userDrawn="1"/>
        </p:nvGrpSpPr>
        <p:grpSpPr>
          <a:xfrm rot="10800000">
            <a:off x="4450426" y="-11928"/>
            <a:ext cx="7741574" cy="6869928"/>
            <a:chOff x="-11929" y="-11928"/>
            <a:chExt cx="7179661" cy="6371282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DF76DCC-CE96-EAA0-06DB-2596CDF7B63F}"/>
                </a:ext>
              </a:extLst>
            </p:cNvPr>
            <p:cNvSpPr/>
            <p:nvPr/>
          </p:nvSpPr>
          <p:spPr>
            <a:xfrm>
              <a:off x="-11929" y="3249527"/>
              <a:ext cx="6538609" cy="2190000"/>
            </a:xfrm>
            <a:custGeom>
              <a:avLst/>
              <a:gdLst>
                <a:gd name="connsiteX0" fmla="*/ 6538610 w 6538609"/>
                <a:gd name="connsiteY0" fmla="*/ 2190001 h 2190000"/>
                <a:gd name="connsiteX1" fmla="*/ 4287706 w 6538609"/>
                <a:gd name="connsiteY1" fmla="*/ 2190001 h 2190000"/>
                <a:gd name="connsiteX2" fmla="*/ 4002340 w 6538609"/>
                <a:gd name="connsiteY2" fmla="*/ 2071334 h 2190000"/>
                <a:gd name="connsiteX3" fmla="*/ 3885557 w 6538609"/>
                <a:gd name="connsiteY3" fmla="*/ 1785027 h 2190000"/>
                <a:gd name="connsiteX4" fmla="*/ 3895603 w 6538609"/>
                <a:gd name="connsiteY4" fmla="*/ 404974 h 2190000"/>
                <a:gd name="connsiteX5" fmla="*/ 3781017 w 6538609"/>
                <a:gd name="connsiteY5" fmla="*/ 124318 h 2190000"/>
                <a:gd name="connsiteX6" fmla="*/ 3501302 w 6538609"/>
                <a:gd name="connsiteY6" fmla="*/ 7848 h 2190000"/>
                <a:gd name="connsiteX7" fmla="*/ 1303139 w 6538609"/>
                <a:gd name="connsiteY7" fmla="*/ 7848 h 2190000"/>
                <a:gd name="connsiteX8" fmla="*/ 909152 w 6538609"/>
                <a:gd name="connsiteY8" fmla="*/ 399324 h 2190000"/>
                <a:gd name="connsiteX9" fmla="*/ 906640 w 6538609"/>
                <a:gd name="connsiteY9" fmla="*/ 708548 h 2190000"/>
                <a:gd name="connsiteX10" fmla="*/ 1815792 w 6538609"/>
                <a:gd name="connsiteY10" fmla="*/ 708548 h 2190000"/>
                <a:gd name="connsiteX11" fmla="*/ 2217941 w 6538609"/>
                <a:gd name="connsiteY11" fmla="*/ 1111011 h 2190000"/>
                <a:gd name="connsiteX12" fmla="*/ 2217941 w 6538609"/>
                <a:gd name="connsiteY12" fmla="*/ 1787852 h 2190000"/>
                <a:gd name="connsiteX13" fmla="*/ 1815792 w 6538609"/>
                <a:gd name="connsiteY13" fmla="*/ 2190001 h 2190000"/>
                <a:gd name="connsiteX14" fmla="*/ 1293093 w 6538609"/>
                <a:gd name="connsiteY14" fmla="*/ 2190001 h 2190000"/>
                <a:gd name="connsiteX15" fmla="*/ 1007727 w 6538609"/>
                <a:gd name="connsiteY15" fmla="*/ 2071334 h 2190000"/>
                <a:gd name="connsiteX16" fmla="*/ 890944 w 6538609"/>
                <a:gd name="connsiteY16" fmla="*/ 1785027 h 2190000"/>
                <a:gd name="connsiteX17" fmla="*/ 898792 w 6538609"/>
                <a:gd name="connsiteY17" fmla="*/ 716711 h 2190000"/>
                <a:gd name="connsiteX18" fmla="*/ 0 w 6538609"/>
                <a:gd name="connsiteY18" fmla="*/ 716711 h 2190000"/>
                <a:gd name="connsiteX19" fmla="*/ 0 w 6538609"/>
                <a:gd name="connsiteY19" fmla="*/ 708548 h 2190000"/>
                <a:gd name="connsiteX20" fmla="*/ 898792 w 6538609"/>
                <a:gd name="connsiteY20" fmla="*/ 708548 h 2190000"/>
                <a:gd name="connsiteX21" fmla="*/ 900990 w 6538609"/>
                <a:gd name="connsiteY21" fmla="*/ 399010 h 2190000"/>
                <a:gd name="connsiteX22" fmla="*/ 1303139 w 6538609"/>
                <a:gd name="connsiteY22" fmla="*/ 0 h 2190000"/>
                <a:gd name="connsiteX23" fmla="*/ 3501302 w 6538609"/>
                <a:gd name="connsiteY23" fmla="*/ 0 h 2190000"/>
                <a:gd name="connsiteX24" fmla="*/ 3786668 w 6538609"/>
                <a:gd name="connsiteY24" fmla="*/ 118667 h 2190000"/>
                <a:gd name="connsiteX25" fmla="*/ 3903451 w 6538609"/>
                <a:gd name="connsiteY25" fmla="*/ 404974 h 2190000"/>
                <a:gd name="connsiteX26" fmla="*/ 3893405 w 6538609"/>
                <a:gd name="connsiteY26" fmla="*/ 1785027 h 2190000"/>
                <a:gd name="connsiteX27" fmla="*/ 4007991 w 6538609"/>
                <a:gd name="connsiteY27" fmla="*/ 2065683 h 2190000"/>
                <a:gd name="connsiteX28" fmla="*/ 4287706 w 6538609"/>
                <a:gd name="connsiteY28" fmla="*/ 2182153 h 2190000"/>
                <a:gd name="connsiteX29" fmla="*/ 6538610 w 6538609"/>
                <a:gd name="connsiteY29" fmla="*/ 2182153 h 2190000"/>
                <a:gd name="connsiteX30" fmla="*/ 906640 w 6538609"/>
                <a:gd name="connsiteY30" fmla="*/ 716397 h 2190000"/>
                <a:gd name="connsiteX31" fmla="*/ 898792 w 6538609"/>
                <a:gd name="connsiteY31" fmla="*/ 1784713 h 2190000"/>
                <a:gd name="connsiteX32" fmla="*/ 1013378 w 6538609"/>
                <a:gd name="connsiteY32" fmla="*/ 2065369 h 2190000"/>
                <a:gd name="connsiteX33" fmla="*/ 1293093 w 6538609"/>
                <a:gd name="connsiteY33" fmla="*/ 2181839 h 2190000"/>
                <a:gd name="connsiteX34" fmla="*/ 1815792 w 6538609"/>
                <a:gd name="connsiteY34" fmla="*/ 2181839 h 2190000"/>
                <a:gd name="connsiteX35" fmla="*/ 2210093 w 6538609"/>
                <a:gd name="connsiteY35" fmla="*/ 1787852 h 2190000"/>
                <a:gd name="connsiteX36" fmla="*/ 2210093 w 6538609"/>
                <a:gd name="connsiteY36" fmla="*/ 1110697 h 2190000"/>
                <a:gd name="connsiteX37" fmla="*/ 1815792 w 6538609"/>
                <a:gd name="connsiteY37" fmla="*/ 716397 h 21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538609" h="2190000">
                  <a:moveTo>
                    <a:pt x="6538610" y="2190001"/>
                  </a:moveTo>
                  <a:lnTo>
                    <a:pt x="4287706" y="2190001"/>
                  </a:lnTo>
                  <a:cubicBezTo>
                    <a:pt x="4179713" y="2190001"/>
                    <a:pt x="4078312" y="2147934"/>
                    <a:pt x="4002340" y="2071334"/>
                  </a:cubicBezTo>
                  <a:cubicBezTo>
                    <a:pt x="3926054" y="1994734"/>
                    <a:pt x="3884615" y="1893020"/>
                    <a:pt x="3885557" y="1785027"/>
                  </a:cubicBezTo>
                  <a:lnTo>
                    <a:pt x="3895603" y="404974"/>
                  </a:lnTo>
                  <a:cubicBezTo>
                    <a:pt x="3896231" y="299179"/>
                    <a:pt x="3855733" y="199348"/>
                    <a:pt x="3781017" y="124318"/>
                  </a:cubicBezTo>
                  <a:cubicBezTo>
                    <a:pt x="3706615" y="49288"/>
                    <a:pt x="3607098" y="7848"/>
                    <a:pt x="3501302" y="7848"/>
                  </a:cubicBezTo>
                  <a:lnTo>
                    <a:pt x="1303139" y="7848"/>
                  </a:lnTo>
                  <a:cubicBezTo>
                    <a:pt x="1087466" y="7848"/>
                    <a:pt x="910721" y="183337"/>
                    <a:pt x="909152" y="399324"/>
                  </a:cubicBezTo>
                  <a:lnTo>
                    <a:pt x="906640" y="708548"/>
                  </a:lnTo>
                  <a:lnTo>
                    <a:pt x="1815792" y="708548"/>
                  </a:lnTo>
                  <a:cubicBezTo>
                    <a:pt x="2037743" y="708548"/>
                    <a:pt x="2217941" y="889060"/>
                    <a:pt x="2217941" y="1111011"/>
                  </a:cubicBezTo>
                  <a:lnTo>
                    <a:pt x="2217941" y="1787852"/>
                  </a:lnTo>
                  <a:cubicBezTo>
                    <a:pt x="2217941" y="2009489"/>
                    <a:pt x="2037743" y="2190001"/>
                    <a:pt x="1815792" y="2190001"/>
                  </a:cubicBezTo>
                  <a:lnTo>
                    <a:pt x="1293093" y="2190001"/>
                  </a:lnTo>
                  <a:cubicBezTo>
                    <a:pt x="1185100" y="2190001"/>
                    <a:pt x="1083699" y="2147934"/>
                    <a:pt x="1007727" y="2071334"/>
                  </a:cubicBezTo>
                  <a:cubicBezTo>
                    <a:pt x="931755" y="1994734"/>
                    <a:pt x="890002" y="1893020"/>
                    <a:pt x="890944" y="1785027"/>
                  </a:cubicBezTo>
                  <a:lnTo>
                    <a:pt x="898792" y="716711"/>
                  </a:lnTo>
                  <a:lnTo>
                    <a:pt x="0" y="716711"/>
                  </a:lnTo>
                  <a:lnTo>
                    <a:pt x="0" y="708548"/>
                  </a:lnTo>
                  <a:lnTo>
                    <a:pt x="898792" y="708548"/>
                  </a:lnTo>
                  <a:lnTo>
                    <a:pt x="900990" y="399010"/>
                  </a:lnTo>
                  <a:cubicBezTo>
                    <a:pt x="902559" y="178942"/>
                    <a:pt x="1083071" y="0"/>
                    <a:pt x="1303139" y="0"/>
                  </a:cubicBezTo>
                  <a:lnTo>
                    <a:pt x="3501302" y="0"/>
                  </a:lnTo>
                  <a:cubicBezTo>
                    <a:pt x="3609295" y="0"/>
                    <a:pt x="3710696" y="42067"/>
                    <a:pt x="3786668" y="118667"/>
                  </a:cubicBezTo>
                  <a:cubicBezTo>
                    <a:pt x="3862953" y="195267"/>
                    <a:pt x="3904393" y="296981"/>
                    <a:pt x="3903451" y="404974"/>
                  </a:cubicBezTo>
                  <a:lnTo>
                    <a:pt x="3893405" y="1785027"/>
                  </a:lnTo>
                  <a:cubicBezTo>
                    <a:pt x="3892777" y="1890822"/>
                    <a:pt x="3933275" y="1990339"/>
                    <a:pt x="4007991" y="2065683"/>
                  </a:cubicBezTo>
                  <a:cubicBezTo>
                    <a:pt x="4082393" y="2140714"/>
                    <a:pt x="4181910" y="2182153"/>
                    <a:pt x="4287706" y="2182153"/>
                  </a:cubicBezTo>
                  <a:lnTo>
                    <a:pt x="6538610" y="2182153"/>
                  </a:lnTo>
                  <a:close/>
                  <a:moveTo>
                    <a:pt x="906640" y="716397"/>
                  </a:moveTo>
                  <a:lnTo>
                    <a:pt x="898792" y="1784713"/>
                  </a:lnTo>
                  <a:cubicBezTo>
                    <a:pt x="898164" y="1890822"/>
                    <a:pt x="938662" y="1990339"/>
                    <a:pt x="1013378" y="2065369"/>
                  </a:cubicBezTo>
                  <a:cubicBezTo>
                    <a:pt x="1087780" y="2140714"/>
                    <a:pt x="1187297" y="2181839"/>
                    <a:pt x="1293093" y="2181839"/>
                  </a:cubicBezTo>
                  <a:lnTo>
                    <a:pt x="1815792" y="2181839"/>
                  </a:lnTo>
                  <a:cubicBezTo>
                    <a:pt x="2033348" y="2181839"/>
                    <a:pt x="2210093" y="2005094"/>
                    <a:pt x="2210093" y="1787852"/>
                  </a:cubicBezTo>
                  <a:lnTo>
                    <a:pt x="2210093" y="1110697"/>
                  </a:lnTo>
                  <a:cubicBezTo>
                    <a:pt x="2210093" y="893455"/>
                    <a:pt x="2033348" y="716397"/>
                    <a:pt x="1815792" y="71639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FBF7D24-077D-879D-A54F-7B36A768BACA}"/>
                </a:ext>
              </a:extLst>
            </p:cNvPr>
            <p:cNvSpPr/>
            <p:nvPr/>
          </p:nvSpPr>
          <p:spPr>
            <a:xfrm>
              <a:off x="-11929" y="605265"/>
              <a:ext cx="3006542" cy="5754089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E04C117-2ED8-B601-EEC6-BB9B5AE2C09C}"/>
                </a:ext>
              </a:extLst>
            </p:cNvPr>
            <p:cNvSpPr/>
            <p:nvPr/>
          </p:nvSpPr>
          <p:spPr>
            <a:xfrm>
              <a:off x="-11929" y="-11928"/>
              <a:ext cx="2855226" cy="1262327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C89A5CE-0277-E73D-A331-66C5F93EF9B9}"/>
                </a:ext>
              </a:extLst>
            </p:cNvPr>
            <p:cNvSpPr/>
            <p:nvPr/>
          </p:nvSpPr>
          <p:spPr>
            <a:xfrm>
              <a:off x="1983118" y="-11928"/>
              <a:ext cx="4049743" cy="2321539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7BAB662-F85A-AAA4-3438-86FF5BCE7A29}"/>
                </a:ext>
              </a:extLst>
            </p:cNvPr>
            <p:cNvSpPr/>
            <p:nvPr/>
          </p:nvSpPr>
          <p:spPr>
            <a:xfrm>
              <a:off x="-11929" y="4738829"/>
              <a:ext cx="1572807" cy="162052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466C712-F63E-8F27-9AC6-0EAF01000F71}"/>
                </a:ext>
              </a:extLst>
            </p:cNvPr>
            <p:cNvSpPr/>
            <p:nvPr/>
          </p:nvSpPr>
          <p:spPr>
            <a:xfrm>
              <a:off x="5081329" y="-11928"/>
              <a:ext cx="1899298" cy="3436631"/>
            </a:xfrm>
            <a:custGeom>
              <a:avLst/>
              <a:gdLst>
                <a:gd name="connsiteX0" fmla="*/ 1899299 w 1899298"/>
                <a:gd name="connsiteY0" fmla="*/ 3436632 h 3436631"/>
                <a:gd name="connsiteX1" fmla="*/ 402149 w 1899298"/>
                <a:gd name="connsiteY1" fmla="*/ 3436632 h 3436631"/>
                <a:gd name="connsiteX2" fmla="*/ 0 w 1899298"/>
                <a:gd name="connsiteY2" fmla="*/ 3034483 h 3436631"/>
                <a:gd name="connsiteX3" fmla="*/ 0 w 1899298"/>
                <a:gd name="connsiteY3" fmla="*/ 0 h 3436631"/>
                <a:gd name="connsiteX4" fmla="*/ 7848 w 1899298"/>
                <a:gd name="connsiteY4" fmla="*/ 0 h 3436631"/>
                <a:gd name="connsiteX5" fmla="*/ 7848 w 1899298"/>
                <a:gd name="connsiteY5" fmla="*/ 3034483 h 3436631"/>
                <a:gd name="connsiteX6" fmla="*/ 402149 w 1899298"/>
                <a:gd name="connsiteY6" fmla="*/ 3428469 h 3436631"/>
                <a:gd name="connsiteX7" fmla="*/ 1899299 w 1899298"/>
                <a:gd name="connsiteY7" fmla="*/ 3428469 h 343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9298" h="3436631">
                  <a:moveTo>
                    <a:pt x="1899299" y="3436632"/>
                  </a:moveTo>
                  <a:lnTo>
                    <a:pt x="402149" y="3436632"/>
                  </a:lnTo>
                  <a:cubicBezTo>
                    <a:pt x="180198" y="3436632"/>
                    <a:pt x="0" y="3256120"/>
                    <a:pt x="0" y="3034483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034483"/>
                  </a:lnTo>
                  <a:cubicBezTo>
                    <a:pt x="7848" y="3251725"/>
                    <a:pt x="184593" y="3428469"/>
                    <a:pt x="402149" y="3428469"/>
                  </a:cubicBezTo>
                  <a:lnTo>
                    <a:pt x="1899299" y="342846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F258FBD-4EB5-C783-C995-D222829416D6}"/>
                </a:ext>
              </a:extLst>
            </p:cNvPr>
            <p:cNvSpPr/>
            <p:nvPr/>
          </p:nvSpPr>
          <p:spPr>
            <a:xfrm>
              <a:off x="3607725" y="-11928"/>
              <a:ext cx="3508208" cy="1501230"/>
            </a:xfrm>
            <a:custGeom>
              <a:avLst/>
              <a:gdLst>
                <a:gd name="connsiteX0" fmla="*/ 3508209 w 3508208"/>
                <a:gd name="connsiteY0" fmla="*/ 1501231 h 1501230"/>
                <a:gd name="connsiteX1" fmla="*/ 402149 w 3508208"/>
                <a:gd name="connsiteY1" fmla="*/ 1501231 h 1501230"/>
                <a:gd name="connsiteX2" fmla="*/ 0 w 3508208"/>
                <a:gd name="connsiteY2" fmla="*/ 1099082 h 1501230"/>
                <a:gd name="connsiteX3" fmla="*/ 0 w 3508208"/>
                <a:gd name="connsiteY3" fmla="*/ 0 h 1501230"/>
                <a:gd name="connsiteX4" fmla="*/ 8163 w 3508208"/>
                <a:gd name="connsiteY4" fmla="*/ 0 h 1501230"/>
                <a:gd name="connsiteX5" fmla="*/ 8163 w 3508208"/>
                <a:gd name="connsiteY5" fmla="*/ 1099082 h 1501230"/>
                <a:gd name="connsiteX6" fmla="*/ 402149 w 3508208"/>
                <a:gd name="connsiteY6" fmla="*/ 1493382 h 1501230"/>
                <a:gd name="connsiteX7" fmla="*/ 3508209 w 3508208"/>
                <a:gd name="connsiteY7" fmla="*/ 1493382 h 150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08208" h="1501230">
                  <a:moveTo>
                    <a:pt x="3508209" y="1501231"/>
                  </a:moveTo>
                  <a:lnTo>
                    <a:pt x="402149" y="1501231"/>
                  </a:lnTo>
                  <a:cubicBezTo>
                    <a:pt x="180512" y="1501231"/>
                    <a:pt x="0" y="1320719"/>
                    <a:pt x="0" y="1099082"/>
                  </a:cubicBezTo>
                  <a:lnTo>
                    <a:pt x="0" y="0"/>
                  </a:lnTo>
                  <a:lnTo>
                    <a:pt x="8163" y="0"/>
                  </a:lnTo>
                  <a:lnTo>
                    <a:pt x="8163" y="1099082"/>
                  </a:lnTo>
                  <a:cubicBezTo>
                    <a:pt x="8163" y="1316324"/>
                    <a:pt x="184907" y="1493382"/>
                    <a:pt x="402149" y="1493382"/>
                  </a:cubicBezTo>
                  <a:lnTo>
                    <a:pt x="3508209" y="14933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EEB0CD0-1147-2537-AE00-C49F074B289A}"/>
                </a:ext>
              </a:extLst>
            </p:cNvPr>
            <p:cNvSpPr/>
            <p:nvPr/>
          </p:nvSpPr>
          <p:spPr>
            <a:xfrm>
              <a:off x="-11929" y="2556676"/>
              <a:ext cx="1903379" cy="7848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8BF82E-CB8D-34B4-142F-5237661C7E34}"/>
                </a:ext>
              </a:extLst>
            </p:cNvPr>
            <p:cNvSpPr/>
            <p:nvPr/>
          </p:nvSpPr>
          <p:spPr>
            <a:xfrm>
              <a:off x="5981063" y="226189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B8D142B-F139-7DCA-BDDF-B8DC868CD6D3}"/>
                </a:ext>
              </a:extLst>
            </p:cNvPr>
            <p:cNvSpPr/>
            <p:nvPr/>
          </p:nvSpPr>
          <p:spPr>
            <a:xfrm>
              <a:off x="5049308" y="1115093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6A77D83-8377-B675-D553-56835D5535D7}"/>
                </a:ext>
              </a:extLst>
            </p:cNvPr>
            <p:cNvSpPr/>
            <p:nvPr/>
          </p:nvSpPr>
          <p:spPr>
            <a:xfrm>
              <a:off x="5049308" y="1361845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9 w 71576"/>
                <a:gd name="connsiteY1" fmla="*/ 71577 h 71576"/>
                <a:gd name="connsiteX2" fmla="*/ 0 w 71576"/>
                <a:gd name="connsiteY2" fmla="*/ 35789 h 71576"/>
                <a:gd name="connsiteX3" fmla="*/ 35789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599B6F-8628-A375-F814-4C26D923D1A0}"/>
                </a:ext>
              </a:extLst>
            </p:cNvPr>
            <p:cNvSpPr/>
            <p:nvPr/>
          </p:nvSpPr>
          <p:spPr>
            <a:xfrm>
              <a:off x="5997074" y="1449432"/>
              <a:ext cx="71576" cy="71890"/>
            </a:xfrm>
            <a:custGeom>
              <a:avLst/>
              <a:gdLst>
                <a:gd name="connsiteX0" fmla="*/ 71577 w 71576"/>
                <a:gd name="connsiteY0" fmla="*/ 35788 h 71890"/>
                <a:gd name="connsiteX1" fmla="*/ 35788 w 71576"/>
                <a:gd name="connsiteY1" fmla="*/ 71891 h 71890"/>
                <a:gd name="connsiteX2" fmla="*/ 0 w 71576"/>
                <a:gd name="connsiteY2" fmla="*/ 35788 h 71890"/>
                <a:gd name="connsiteX3" fmla="*/ 35788 w 71576"/>
                <a:gd name="connsiteY3" fmla="*/ 0 h 71890"/>
                <a:gd name="connsiteX4" fmla="*/ 71577 w 71576"/>
                <a:gd name="connsiteY4" fmla="*/ 35788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5788"/>
                  </a:moveTo>
                  <a:cubicBezTo>
                    <a:pt x="71577" y="55566"/>
                    <a:pt x="55566" y="71891"/>
                    <a:pt x="35788" y="71891"/>
                  </a:cubicBezTo>
                  <a:cubicBezTo>
                    <a:pt x="16011" y="71891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4907C2D-133D-4AF3-CC2D-67FF7B81F9B7}"/>
                </a:ext>
              </a:extLst>
            </p:cNvPr>
            <p:cNvSpPr/>
            <p:nvPr/>
          </p:nvSpPr>
          <p:spPr>
            <a:xfrm>
              <a:off x="5328081" y="2269741"/>
              <a:ext cx="71577" cy="71890"/>
            </a:xfrm>
            <a:custGeom>
              <a:avLst/>
              <a:gdLst>
                <a:gd name="connsiteX0" fmla="*/ 71577 w 71577"/>
                <a:gd name="connsiteY0" fmla="*/ 35789 h 71890"/>
                <a:gd name="connsiteX1" fmla="*/ 35789 w 71577"/>
                <a:gd name="connsiteY1" fmla="*/ 71891 h 71890"/>
                <a:gd name="connsiteX2" fmla="*/ 0 w 71577"/>
                <a:gd name="connsiteY2" fmla="*/ 35789 h 71890"/>
                <a:gd name="connsiteX3" fmla="*/ 35789 w 71577"/>
                <a:gd name="connsiteY3" fmla="*/ 0 h 71890"/>
                <a:gd name="connsiteX4" fmla="*/ 71577 w 71577"/>
                <a:gd name="connsiteY4" fmla="*/ 35789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5789"/>
                  </a:moveTo>
                  <a:cubicBezTo>
                    <a:pt x="71577" y="55566"/>
                    <a:pt x="55566" y="71891"/>
                    <a:pt x="35789" y="71891"/>
                  </a:cubicBezTo>
                  <a:cubicBezTo>
                    <a:pt x="16011" y="71891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A372241-9E15-4ECB-FCC2-DDB78B7A2A23}"/>
                </a:ext>
              </a:extLst>
            </p:cNvPr>
            <p:cNvSpPr/>
            <p:nvPr/>
          </p:nvSpPr>
          <p:spPr>
            <a:xfrm>
              <a:off x="3145928" y="700700"/>
              <a:ext cx="71577" cy="71890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0C37402-AF01-DE4D-4EA7-CEA0F7D7B79C}"/>
                </a:ext>
              </a:extLst>
            </p:cNvPr>
            <p:cNvSpPr/>
            <p:nvPr/>
          </p:nvSpPr>
          <p:spPr>
            <a:xfrm>
              <a:off x="1680486" y="1210529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CA383D7-0F8A-06A2-05EC-8193046B9821}"/>
                </a:ext>
              </a:extLst>
            </p:cNvPr>
            <p:cNvSpPr/>
            <p:nvPr/>
          </p:nvSpPr>
          <p:spPr>
            <a:xfrm>
              <a:off x="2954743" y="2668122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D66C921-5CBD-68EC-0930-E20350273629}"/>
                </a:ext>
              </a:extLst>
            </p:cNvPr>
            <p:cNvSpPr/>
            <p:nvPr/>
          </p:nvSpPr>
          <p:spPr>
            <a:xfrm>
              <a:off x="788601" y="2524655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796A810-2EB5-EC07-702B-951253DC4759}"/>
                </a:ext>
              </a:extLst>
            </p:cNvPr>
            <p:cNvSpPr/>
            <p:nvPr/>
          </p:nvSpPr>
          <p:spPr>
            <a:xfrm>
              <a:off x="2954743" y="2914874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352CB08-B62C-4E76-3C0D-AE91AE6C7EED}"/>
                </a:ext>
              </a:extLst>
            </p:cNvPr>
            <p:cNvSpPr/>
            <p:nvPr/>
          </p:nvSpPr>
          <p:spPr>
            <a:xfrm>
              <a:off x="2166142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6102 w 71890"/>
                <a:gd name="connsiteY1" fmla="*/ 71577 h 71576"/>
                <a:gd name="connsiteX2" fmla="*/ 0 w 71890"/>
                <a:gd name="connsiteY2" fmla="*/ 35789 h 71576"/>
                <a:gd name="connsiteX3" fmla="*/ 36102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6102" y="71577"/>
                  </a:cubicBezTo>
                  <a:cubicBezTo>
                    <a:pt x="16325" y="71577"/>
                    <a:pt x="0" y="55566"/>
                    <a:pt x="0" y="35789"/>
                  </a:cubicBezTo>
                  <a:cubicBezTo>
                    <a:pt x="0" y="16011"/>
                    <a:pt x="16325" y="0"/>
                    <a:pt x="36102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D8310D7-E80C-9D25-8B0A-AD76A74251C1}"/>
                </a:ext>
              </a:extLst>
            </p:cNvPr>
            <p:cNvSpPr/>
            <p:nvPr/>
          </p:nvSpPr>
          <p:spPr>
            <a:xfrm>
              <a:off x="3846629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5788 w 71890"/>
                <a:gd name="connsiteY1" fmla="*/ 71577 h 71576"/>
                <a:gd name="connsiteX2" fmla="*/ 0 w 71890"/>
                <a:gd name="connsiteY2" fmla="*/ 35789 h 71576"/>
                <a:gd name="connsiteX3" fmla="*/ 35788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4239F9B-ED96-88A0-8374-C4554D3A1991}"/>
                </a:ext>
              </a:extLst>
            </p:cNvPr>
            <p:cNvSpPr/>
            <p:nvPr/>
          </p:nvSpPr>
          <p:spPr>
            <a:xfrm>
              <a:off x="1521322" y="5789879"/>
              <a:ext cx="71576" cy="71890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B65D328-D9FF-05D8-B5D6-F2B2F7987044}"/>
                </a:ext>
              </a:extLst>
            </p:cNvPr>
            <p:cNvSpPr/>
            <p:nvPr/>
          </p:nvSpPr>
          <p:spPr>
            <a:xfrm>
              <a:off x="1839651" y="2508644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71482EC-3F87-95E5-D2A3-0EF00036249B}"/>
                </a:ext>
              </a:extLst>
            </p:cNvPr>
            <p:cNvSpPr/>
            <p:nvPr/>
          </p:nvSpPr>
          <p:spPr>
            <a:xfrm>
              <a:off x="7064134" y="143342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2" y="103598"/>
                    <a:pt x="0" y="80367"/>
                    <a:pt x="0" y="51799"/>
                  </a:cubicBezTo>
                  <a:cubicBezTo>
                    <a:pt x="0" y="23231"/>
                    <a:pt x="23232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C3FF493-EBC4-76D8-7DAF-CCB79E523903}"/>
                </a:ext>
              </a:extLst>
            </p:cNvPr>
            <p:cNvSpPr/>
            <p:nvPr/>
          </p:nvSpPr>
          <p:spPr>
            <a:xfrm>
              <a:off x="6928829" y="336882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B7F16A1-769C-EBD6-AD18-9A8AF113915D}"/>
                </a:ext>
              </a:extLst>
            </p:cNvPr>
            <p:cNvSpPr/>
            <p:nvPr userDrawn="1"/>
          </p:nvSpPr>
          <p:spPr>
            <a:xfrm>
              <a:off x="6474881" y="538817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817493175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73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982689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l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73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D5B3CBD-7045-D0A7-D3E5-B86BD147A180}"/>
              </a:ext>
            </a:extLst>
          </p:cNvPr>
          <p:cNvGrpSpPr/>
          <p:nvPr userDrawn="1"/>
        </p:nvGrpSpPr>
        <p:grpSpPr>
          <a:xfrm rot="10800000">
            <a:off x="4450426" y="-11928"/>
            <a:ext cx="7741574" cy="6869928"/>
            <a:chOff x="-11929" y="-11928"/>
            <a:chExt cx="7179661" cy="6371282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345DEBA-6810-F272-C7AF-C350025F5FEE}"/>
                </a:ext>
              </a:extLst>
            </p:cNvPr>
            <p:cNvSpPr/>
            <p:nvPr/>
          </p:nvSpPr>
          <p:spPr>
            <a:xfrm>
              <a:off x="-11929" y="3249527"/>
              <a:ext cx="6538609" cy="2190000"/>
            </a:xfrm>
            <a:custGeom>
              <a:avLst/>
              <a:gdLst>
                <a:gd name="connsiteX0" fmla="*/ 6538610 w 6538609"/>
                <a:gd name="connsiteY0" fmla="*/ 2190001 h 2190000"/>
                <a:gd name="connsiteX1" fmla="*/ 4287706 w 6538609"/>
                <a:gd name="connsiteY1" fmla="*/ 2190001 h 2190000"/>
                <a:gd name="connsiteX2" fmla="*/ 4002340 w 6538609"/>
                <a:gd name="connsiteY2" fmla="*/ 2071334 h 2190000"/>
                <a:gd name="connsiteX3" fmla="*/ 3885557 w 6538609"/>
                <a:gd name="connsiteY3" fmla="*/ 1785027 h 2190000"/>
                <a:gd name="connsiteX4" fmla="*/ 3895603 w 6538609"/>
                <a:gd name="connsiteY4" fmla="*/ 404974 h 2190000"/>
                <a:gd name="connsiteX5" fmla="*/ 3781017 w 6538609"/>
                <a:gd name="connsiteY5" fmla="*/ 124318 h 2190000"/>
                <a:gd name="connsiteX6" fmla="*/ 3501302 w 6538609"/>
                <a:gd name="connsiteY6" fmla="*/ 7848 h 2190000"/>
                <a:gd name="connsiteX7" fmla="*/ 1303139 w 6538609"/>
                <a:gd name="connsiteY7" fmla="*/ 7848 h 2190000"/>
                <a:gd name="connsiteX8" fmla="*/ 909152 w 6538609"/>
                <a:gd name="connsiteY8" fmla="*/ 399324 h 2190000"/>
                <a:gd name="connsiteX9" fmla="*/ 906640 w 6538609"/>
                <a:gd name="connsiteY9" fmla="*/ 708548 h 2190000"/>
                <a:gd name="connsiteX10" fmla="*/ 1815792 w 6538609"/>
                <a:gd name="connsiteY10" fmla="*/ 708548 h 2190000"/>
                <a:gd name="connsiteX11" fmla="*/ 2217941 w 6538609"/>
                <a:gd name="connsiteY11" fmla="*/ 1111011 h 2190000"/>
                <a:gd name="connsiteX12" fmla="*/ 2217941 w 6538609"/>
                <a:gd name="connsiteY12" fmla="*/ 1787852 h 2190000"/>
                <a:gd name="connsiteX13" fmla="*/ 1815792 w 6538609"/>
                <a:gd name="connsiteY13" fmla="*/ 2190001 h 2190000"/>
                <a:gd name="connsiteX14" fmla="*/ 1293093 w 6538609"/>
                <a:gd name="connsiteY14" fmla="*/ 2190001 h 2190000"/>
                <a:gd name="connsiteX15" fmla="*/ 1007727 w 6538609"/>
                <a:gd name="connsiteY15" fmla="*/ 2071334 h 2190000"/>
                <a:gd name="connsiteX16" fmla="*/ 890944 w 6538609"/>
                <a:gd name="connsiteY16" fmla="*/ 1785027 h 2190000"/>
                <a:gd name="connsiteX17" fmla="*/ 898792 w 6538609"/>
                <a:gd name="connsiteY17" fmla="*/ 716711 h 2190000"/>
                <a:gd name="connsiteX18" fmla="*/ 0 w 6538609"/>
                <a:gd name="connsiteY18" fmla="*/ 716711 h 2190000"/>
                <a:gd name="connsiteX19" fmla="*/ 0 w 6538609"/>
                <a:gd name="connsiteY19" fmla="*/ 708548 h 2190000"/>
                <a:gd name="connsiteX20" fmla="*/ 898792 w 6538609"/>
                <a:gd name="connsiteY20" fmla="*/ 708548 h 2190000"/>
                <a:gd name="connsiteX21" fmla="*/ 900990 w 6538609"/>
                <a:gd name="connsiteY21" fmla="*/ 399010 h 2190000"/>
                <a:gd name="connsiteX22" fmla="*/ 1303139 w 6538609"/>
                <a:gd name="connsiteY22" fmla="*/ 0 h 2190000"/>
                <a:gd name="connsiteX23" fmla="*/ 3501302 w 6538609"/>
                <a:gd name="connsiteY23" fmla="*/ 0 h 2190000"/>
                <a:gd name="connsiteX24" fmla="*/ 3786668 w 6538609"/>
                <a:gd name="connsiteY24" fmla="*/ 118667 h 2190000"/>
                <a:gd name="connsiteX25" fmla="*/ 3903451 w 6538609"/>
                <a:gd name="connsiteY25" fmla="*/ 404974 h 2190000"/>
                <a:gd name="connsiteX26" fmla="*/ 3893405 w 6538609"/>
                <a:gd name="connsiteY26" fmla="*/ 1785027 h 2190000"/>
                <a:gd name="connsiteX27" fmla="*/ 4007991 w 6538609"/>
                <a:gd name="connsiteY27" fmla="*/ 2065683 h 2190000"/>
                <a:gd name="connsiteX28" fmla="*/ 4287706 w 6538609"/>
                <a:gd name="connsiteY28" fmla="*/ 2182153 h 2190000"/>
                <a:gd name="connsiteX29" fmla="*/ 6538610 w 6538609"/>
                <a:gd name="connsiteY29" fmla="*/ 2182153 h 2190000"/>
                <a:gd name="connsiteX30" fmla="*/ 906640 w 6538609"/>
                <a:gd name="connsiteY30" fmla="*/ 716397 h 2190000"/>
                <a:gd name="connsiteX31" fmla="*/ 898792 w 6538609"/>
                <a:gd name="connsiteY31" fmla="*/ 1784713 h 2190000"/>
                <a:gd name="connsiteX32" fmla="*/ 1013378 w 6538609"/>
                <a:gd name="connsiteY32" fmla="*/ 2065369 h 2190000"/>
                <a:gd name="connsiteX33" fmla="*/ 1293093 w 6538609"/>
                <a:gd name="connsiteY33" fmla="*/ 2181839 h 2190000"/>
                <a:gd name="connsiteX34" fmla="*/ 1815792 w 6538609"/>
                <a:gd name="connsiteY34" fmla="*/ 2181839 h 2190000"/>
                <a:gd name="connsiteX35" fmla="*/ 2210093 w 6538609"/>
                <a:gd name="connsiteY35" fmla="*/ 1787852 h 2190000"/>
                <a:gd name="connsiteX36" fmla="*/ 2210093 w 6538609"/>
                <a:gd name="connsiteY36" fmla="*/ 1110697 h 2190000"/>
                <a:gd name="connsiteX37" fmla="*/ 1815792 w 6538609"/>
                <a:gd name="connsiteY37" fmla="*/ 716397 h 21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538609" h="2190000">
                  <a:moveTo>
                    <a:pt x="6538610" y="2190001"/>
                  </a:moveTo>
                  <a:lnTo>
                    <a:pt x="4287706" y="2190001"/>
                  </a:lnTo>
                  <a:cubicBezTo>
                    <a:pt x="4179713" y="2190001"/>
                    <a:pt x="4078312" y="2147934"/>
                    <a:pt x="4002340" y="2071334"/>
                  </a:cubicBezTo>
                  <a:cubicBezTo>
                    <a:pt x="3926054" y="1994734"/>
                    <a:pt x="3884615" y="1893020"/>
                    <a:pt x="3885557" y="1785027"/>
                  </a:cubicBezTo>
                  <a:lnTo>
                    <a:pt x="3895603" y="404974"/>
                  </a:lnTo>
                  <a:cubicBezTo>
                    <a:pt x="3896231" y="299179"/>
                    <a:pt x="3855733" y="199348"/>
                    <a:pt x="3781017" y="124318"/>
                  </a:cubicBezTo>
                  <a:cubicBezTo>
                    <a:pt x="3706615" y="49288"/>
                    <a:pt x="3607098" y="7848"/>
                    <a:pt x="3501302" y="7848"/>
                  </a:cubicBezTo>
                  <a:lnTo>
                    <a:pt x="1303139" y="7848"/>
                  </a:lnTo>
                  <a:cubicBezTo>
                    <a:pt x="1087466" y="7848"/>
                    <a:pt x="910721" y="183337"/>
                    <a:pt x="909152" y="399324"/>
                  </a:cubicBezTo>
                  <a:lnTo>
                    <a:pt x="906640" y="708548"/>
                  </a:lnTo>
                  <a:lnTo>
                    <a:pt x="1815792" y="708548"/>
                  </a:lnTo>
                  <a:cubicBezTo>
                    <a:pt x="2037743" y="708548"/>
                    <a:pt x="2217941" y="889060"/>
                    <a:pt x="2217941" y="1111011"/>
                  </a:cubicBezTo>
                  <a:lnTo>
                    <a:pt x="2217941" y="1787852"/>
                  </a:lnTo>
                  <a:cubicBezTo>
                    <a:pt x="2217941" y="2009489"/>
                    <a:pt x="2037743" y="2190001"/>
                    <a:pt x="1815792" y="2190001"/>
                  </a:cubicBezTo>
                  <a:lnTo>
                    <a:pt x="1293093" y="2190001"/>
                  </a:lnTo>
                  <a:cubicBezTo>
                    <a:pt x="1185100" y="2190001"/>
                    <a:pt x="1083699" y="2147934"/>
                    <a:pt x="1007727" y="2071334"/>
                  </a:cubicBezTo>
                  <a:cubicBezTo>
                    <a:pt x="931755" y="1994734"/>
                    <a:pt x="890002" y="1893020"/>
                    <a:pt x="890944" y="1785027"/>
                  </a:cubicBezTo>
                  <a:lnTo>
                    <a:pt x="898792" y="716711"/>
                  </a:lnTo>
                  <a:lnTo>
                    <a:pt x="0" y="716711"/>
                  </a:lnTo>
                  <a:lnTo>
                    <a:pt x="0" y="708548"/>
                  </a:lnTo>
                  <a:lnTo>
                    <a:pt x="898792" y="708548"/>
                  </a:lnTo>
                  <a:lnTo>
                    <a:pt x="900990" y="399010"/>
                  </a:lnTo>
                  <a:cubicBezTo>
                    <a:pt x="902559" y="178942"/>
                    <a:pt x="1083071" y="0"/>
                    <a:pt x="1303139" y="0"/>
                  </a:cubicBezTo>
                  <a:lnTo>
                    <a:pt x="3501302" y="0"/>
                  </a:lnTo>
                  <a:cubicBezTo>
                    <a:pt x="3609295" y="0"/>
                    <a:pt x="3710696" y="42067"/>
                    <a:pt x="3786668" y="118667"/>
                  </a:cubicBezTo>
                  <a:cubicBezTo>
                    <a:pt x="3862953" y="195267"/>
                    <a:pt x="3904393" y="296981"/>
                    <a:pt x="3903451" y="404974"/>
                  </a:cubicBezTo>
                  <a:lnTo>
                    <a:pt x="3893405" y="1785027"/>
                  </a:lnTo>
                  <a:cubicBezTo>
                    <a:pt x="3892777" y="1890822"/>
                    <a:pt x="3933275" y="1990339"/>
                    <a:pt x="4007991" y="2065683"/>
                  </a:cubicBezTo>
                  <a:cubicBezTo>
                    <a:pt x="4082393" y="2140714"/>
                    <a:pt x="4181910" y="2182153"/>
                    <a:pt x="4287706" y="2182153"/>
                  </a:cubicBezTo>
                  <a:lnTo>
                    <a:pt x="6538610" y="2182153"/>
                  </a:lnTo>
                  <a:close/>
                  <a:moveTo>
                    <a:pt x="906640" y="716397"/>
                  </a:moveTo>
                  <a:lnTo>
                    <a:pt x="898792" y="1784713"/>
                  </a:lnTo>
                  <a:cubicBezTo>
                    <a:pt x="898164" y="1890822"/>
                    <a:pt x="938662" y="1990339"/>
                    <a:pt x="1013378" y="2065369"/>
                  </a:cubicBezTo>
                  <a:cubicBezTo>
                    <a:pt x="1087780" y="2140714"/>
                    <a:pt x="1187297" y="2181839"/>
                    <a:pt x="1293093" y="2181839"/>
                  </a:cubicBezTo>
                  <a:lnTo>
                    <a:pt x="1815792" y="2181839"/>
                  </a:lnTo>
                  <a:cubicBezTo>
                    <a:pt x="2033348" y="2181839"/>
                    <a:pt x="2210093" y="2005094"/>
                    <a:pt x="2210093" y="1787852"/>
                  </a:cubicBezTo>
                  <a:lnTo>
                    <a:pt x="2210093" y="1110697"/>
                  </a:lnTo>
                  <a:cubicBezTo>
                    <a:pt x="2210093" y="893455"/>
                    <a:pt x="2033348" y="716397"/>
                    <a:pt x="1815792" y="71639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44850ABC-791F-14D9-43FA-5FBA2FB454C9}"/>
                </a:ext>
              </a:extLst>
            </p:cNvPr>
            <p:cNvSpPr/>
            <p:nvPr/>
          </p:nvSpPr>
          <p:spPr>
            <a:xfrm>
              <a:off x="-11929" y="605265"/>
              <a:ext cx="3006542" cy="5754089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FD0B815-BE76-2924-9865-0BCDEB19BFA6}"/>
                </a:ext>
              </a:extLst>
            </p:cNvPr>
            <p:cNvSpPr/>
            <p:nvPr/>
          </p:nvSpPr>
          <p:spPr>
            <a:xfrm>
              <a:off x="-11929" y="-11928"/>
              <a:ext cx="2855226" cy="1262327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13783C3-B104-7FD8-1D67-97DFA3C4B019}"/>
                </a:ext>
              </a:extLst>
            </p:cNvPr>
            <p:cNvSpPr/>
            <p:nvPr/>
          </p:nvSpPr>
          <p:spPr>
            <a:xfrm>
              <a:off x="1983118" y="-11928"/>
              <a:ext cx="4049743" cy="2321539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4444744-1D51-456D-CC54-02B22E18D49E}"/>
                </a:ext>
              </a:extLst>
            </p:cNvPr>
            <p:cNvSpPr/>
            <p:nvPr/>
          </p:nvSpPr>
          <p:spPr>
            <a:xfrm>
              <a:off x="-11929" y="4738829"/>
              <a:ext cx="1572807" cy="162052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299F563-2F60-F8F3-FEF9-C000E435CCEF}"/>
                </a:ext>
              </a:extLst>
            </p:cNvPr>
            <p:cNvSpPr/>
            <p:nvPr/>
          </p:nvSpPr>
          <p:spPr>
            <a:xfrm>
              <a:off x="5081329" y="-11928"/>
              <a:ext cx="1899298" cy="3436631"/>
            </a:xfrm>
            <a:custGeom>
              <a:avLst/>
              <a:gdLst>
                <a:gd name="connsiteX0" fmla="*/ 1899299 w 1899298"/>
                <a:gd name="connsiteY0" fmla="*/ 3436632 h 3436631"/>
                <a:gd name="connsiteX1" fmla="*/ 402149 w 1899298"/>
                <a:gd name="connsiteY1" fmla="*/ 3436632 h 3436631"/>
                <a:gd name="connsiteX2" fmla="*/ 0 w 1899298"/>
                <a:gd name="connsiteY2" fmla="*/ 3034483 h 3436631"/>
                <a:gd name="connsiteX3" fmla="*/ 0 w 1899298"/>
                <a:gd name="connsiteY3" fmla="*/ 0 h 3436631"/>
                <a:gd name="connsiteX4" fmla="*/ 7848 w 1899298"/>
                <a:gd name="connsiteY4" fmla="*/ 0 h 3436631"/>
                <a:gd name="connsiteX5" fmla="*/ 7848 w 1899298"/>
                <a:gd name="connsiteY5" fmla="*/ 3034483 h 3436631"/>
                <a:gd name="connsiteX6" fmla="*/ 402149 w 1899298"/>
                <a:gd name="connsiteY6" fmla="*/ 3428469 h 3436631"/>
                <a:gd name="connsiteX7" fmla="*/ 1899299 w 1899298"/>
                <a:gd name="connsiteY7" fmla="*/ 3428469 h 343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9298" h="3436631">
                  <a:moveTo>
                    <a:pt x="1899299" y="3436632"/>
                  </a:moveTo>
                  <a:lnTo>
                    <a:pt x="402149" y="3436632"/>
                  </a:lnTo>
                  <a:cubicBezTo>
                    <a:pt x="180198" y="3436632"/>
                    <a:pt x="0" y="3256120"/>
                    <a:pt x="0" y="3034483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034483"/>
                  </a:lnTo>
                  <a:cubicBezTo>
                    <a:pt x="7848" y="3251725"/>
                    <a:pt x="184593" y="3428469"/>
                    <a:pt x="402149" y="3428469"/>
                  </a:cubicBezTo>
                  <a:lnTo>
                    <a:pt x="1899299" y="342846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F36C6BB-CA93-D35A-ED91-09029AE875A3}"/>
                </a:ext>
              </a:extLst>
            </p:cNvPr>
            <p:cNvSpPr/>
            <p:nvPr/>
          </p:nvSpPr>
          <p:spPr>
            <a:xfrm>
              <a:off x="3607725" y="-11928"/>
              <a:ext cx="3508208" cy="1501230"/>
            </a:xfrm>
            <a:custGeom>
              <a:avLst/>
              <a:gdLst>
                <a:gd name="connsiteX0" fmla="*/ 3508209 w 3508208"/>
                <a:gd name="connsiteY0" fmla="*/ 1501231 h 1501230"/>
                <a:gd name="connsiteX1" fmla="*/ 402149 w 3508208"/>
                <a:gd name="connsiteY1" fmla="*/ 1501231 h 1501230"/>
                <a:gd name="connsiteX2" fmla="*/ 0 w 3508208"/>
                <a:gd name="connsiteY2" fmla="*/ 1099082 h 1501230"/>
                <a:gd name="connsiteX3" fmla="*/ 0 w 3508208"/>
                <a:gd name="connsiteY3" fmla="*/ 0 h 1501230"/>
                <a:gd name="connsiteX4" fmla="*/ 8163 w 3508208"/>
                <a:gd name="connsiteY4" fmla="*/ 0 h 1501230"/>
                <a:gd name="connsiteX5" fmla="*/ 8163 w 3508208"/>
                <a:gd name="connsiteY5" fmla="*/ 1099082 h 1501230"/>
                <a:gd name="connsiteX6" fmla="*/ 402149 w 3508208"/>
                <a:gd name="connsiteY6" fmla="*/ 1493382 h 1501230"/>
                <a:gd name="connsiteX7" fmla="*/ 3508209 w 3508208"/>
                <a:gd name="connsiteY7" fmla="*/ 1493382 h 150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08208" h="1501230">
                  <a:moveTo>
                    <a:pt x="3508209" y="1501231"/>
                  </a:moveTo>
                  <a:lnTo>
                    <a:pt x="402149" y="1501231"/>
                  </a:lnTo>
                  <a:cubicBezTo>
                    <a:pt x="180512" y="1501231"/>
                    <a:pt x="0" y="1320719"/>
                    <a:pt x="0" y="1099082"/>
                  </a:cubicBezTo>
                  <a:lnTo>
                    <a:pt x="0" y="0"/>
                  </a:lnTo>
                  <a:lnTo>
                    <a:pt x="8163" y="0"/>
                  </a:lnTo>
                  <a:lnTo>
                    <a:pt x="8163" y="1099082"/>
                  </a:lnTo>
                  <a:cubicBezTo>
                    <a:pt x="8163" y="1316324"/>
                    <a:pt x="184907" y="1493382"/>
                    <a:pt x="402149" y="1493382"/>
                  </a:cubicBezTo>
                  <a:lnTo>
                    <a:pt x="3508209" y="14933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9034B06-B43E-5A44-2343-A5D8FE806300}"/>
                </a:ext>
              </a:extLst>
            </p:cNvPr>
            <p:cNvSpPr/>
            <p:nvPr/>
          </p:nvSpPr>
          <p:spPr>
            <a:xfrm>
              <a:off x="-11929" y="2556676"/>
              <a:ext cx="1903379" cy="7848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C88CB9A-B212-A171-7169-1AB1E9185750}"/>
                </a:ext>
              </a:extLst>
            </p:cNvPr>
            <p:cNvSpPr/>
            <p:nvPr/>
          </p:nvSpPr>
          <p:spPr>
            <a:xfrm>
              <a:off x="5981063" y="226189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45BA3AB-B148-7AD4-0A6E-AA42C15DB083}"/>
                </a:ext>
              </a:extLst>
            </p:cNvPr>
            <p:cNvSpPr/>
            <p:nvPr/>
          </p:nvSpPr>
          <p:spPr>
            <a:xfrm>
              <a:off x="5049308" y="1115093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9C121D9-04DF-8B24-7DF6-98700F1A1FD3}"/>
                </a:ext>
              </a:extLst>
            </p:cNvPr>
            <p:cNvSpPr/>
            <p:nvPr/>
          </p:nvSpPr>
          <p:spPr>
            <a:xfrm>
              <a:off x="5049308" y="1361845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9 w 71576"/>
                <a:gd name="connsiteY1" fmla="*/ 71577 h 71576"/>
                <a:gd name="connsiteX2" fmla="*/ 0 w 71576"/>
                <a:gd name="connsiteY2" fmla="*/ 35789 h 71576"/>
                <a:gd name="connsiteX3" fmla="*/ 35789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9C96014-19EA-3F56-5FF8-D5BFAB17C59F}"/>
                </a:ext>
              </a:extLst>
            </p:cNvPr>
            <p:cNvSpPr/>
            <p:nvPr/>
          </p:nvSpPr>
          <p:spPr>
            <a:xfrm>
              <a:off x="5997074" y="1449432"/>
              <a:ext cx="71576" cy="71890"/>
            </a:xfrm>
            <a:custGeom>
              <a:avLst/>
              <a:gdLst>
                <a:gd name="connsiteX0" fmla="*/ 71577 w 71576"/>
                <a:gd name="connsiteY0" fmla="*/ 35788 h 71890"/>
                <a:gd name="connsiteX1" fmla="*/ 35788 w 71576"/>
                <a:gd name="connsiteY1" fmla="*/ 71891 h 71890"/>
                <a:gd name="connsiteX2" fmla="*/ 0 w 71576"/>
                <a:gd name="connsiteY2" fmla="*/ 35788 h 71890"/>
                <a:gd name="connsiteX3" fmla="*/ 35788 w 71576"/>
                <a:gd name="connsiteY3" fmla="*/ 0 h 71890"/>
                <a:gd name="connsiteX4" fmla="*/ 71577 w 71576"/>
                <a:gd name="connsiteY4" fmla="*/ 35788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5788"/>
                  </a:moveTo>
                  <a:cubicBezTo>
                    <a:pt x="71577" y="55566"/>
                    <a:pt x="55566" y="71891"/>
                    <a:pt x="35788" y="71891"/>
                  </a:cubicBezTo>
                  <a:cubicBezTo>
                    <a:pt x="16011" y="71891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FFA0F98-76FA-D505-58C2-E2CAFC54D292}"/>
                </a:ext>
              </a:extLst>
            </p:cNvPr>
            <p:cNvSpPr/>
            <p:nvPr/>
          </p:nvSpPr>
          <p:spPr>
            <a:xfrm>
              <a:off x="5328081" y="2269741"/>
              <a:ext cx="71577" cy="71890"/>
            </a:xfrm>
            <a:custGeom>
              <a:avLst/>
              <a:gdLst>
                <a:gd name="connsiteX0" fmla="*/ 71577 w 71577"/>
                <a:gd name="connsiteY0" fmla="*/ 35789 h 71890"/>
                <a:gd name="connsiteX1" fmla="*/ 35789 w 71577"/>
                <a:gd name="connsiteY1" fmla="*/ 71891 h 71890"/>
                <a:gd name="connsiteX2" fmla="*/ 0 w 71577"/>
                <a:gd name="connsiteY2" fmla="*/ 35789 h 71890"/>
                <a:gd name="connsiteX3" fmla="*/ 35789 w 71577"/>
                <a:gd name="connsiteY3" fmla="*/ 0 h 71890"/>
                <a:gd name="connsiteX4" fmla="*/ 71577 w 71577"/>
                <a:gd name="connsiteY4" fmla="*/ 35789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5789"/>
                  </a:moveTo>
                  <a:cubicBezTo>
                    <a:pt x="71577" y="55566"/>
                    <a:pt x="55566" y="71891"/>
                    <a:pt x="35789" y="71891"/>
                  </a:cubicBezTo>
                  <a:cubicBezTo>
                    <a:pt x="16011" y="71891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5C1A39-12C1-0625-60EF-7F9880D5674A}"/>
                </a:ext>
              </a:extLst>
            </p:cNvPr>
            <p:cNvSpPr/>
            <p:nvPr/>
          </p:nvSpPr>
          <p:spPr>
            <a:xfrm>
              <a:off x="3145928" y="700700"/>
              <a:ext cx="71577" cy="71890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71A7337-807F-9DC8-A384-EC573FC0BCB2}"/>
                </a:ext>
              </a:extLst>
            </p:cNvPr>
            <p:cNvSpPr/>
            <p:nvPr/>
          </p:nvSpPr>
          <p:spPr>
            <a:xfrm>
              <a:off x="1680486" y="1210529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FE05741-7803-3557-A64B-F8EA1E277BCB}"/>
                </a:ext>
              </a:extLst>
            </p:cNvPr>
            <p:cNvSpPr/>
            <p:nvPr/>
          </p:nvSpPr>
          <p:spPr>
            <a:xfrm>
              <a:off x="2954743" y="2668122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2A099F8-1399-47A0-D38B-C952F4B67376}"/>
                </a:ext>
              </a:extLst>
            </p:cNvPr>
            <p:cNvSpPr/>
            <p:nvPr/>
          </p:nvSpPr>
          <p:spPr>
            <a:xfrm>
              <a:off x="788601" y="2524655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5BF1609-D0F2-7F64-705E-33F439829265}"/>
                </a:ext>
              </a:extLst>
            </p:cNvPr>
            <p:cNvSpPr/>
            <p:nvPr/>
          </p:nvSpPr>
          <p:spPr>
            <a:xfrm>
              <a:off x="2954743" y="2914874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27B5C0-A814-02B8-A6FD-D3415565E4BF}"/>
                </a:ext>
              </a:extLst>
            </p:cNvPr>
            <p:cNvSpPr/>
            <p:nvPr/>
          </p:nvSpPr>
          <p:spPr>
            <a:xfrm>
              <a:off x="2166142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6102 w 71890"/>
                <a:gd name="connsiteY1" fmla="*/ 71577 h 71576"/>
                <a:gd name="connsiteX2" fmla="*/ 0 w 71890"/>
                <a:gd name="connsiteY2" fmla="*/ 35789 h 71576"/>
                <a:gd name="connsiteX3" fmla="*/ 36102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6102" y="71577"/>
                  </a:cubicBezTo>
                  <a:cubicBezTo>
                    <a:pt x="16325" y="71577"/>
                    <a:pt x="0" y="55566"/>
                    <a:pt x="0" y="35789"/>
                  </a:cubicBezTo>
                  <a:cubicBezTo>
                    <a:pt x="0" y="16011"/>
                    <a:pt x="16325" y="0"/>
                    <a:pt x="36102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E05C90C-56CD-2776-65DA-A86EC89EFE5D}"/>
                </a:ext>
              </a:extLst>
            </p:cNvPr>
            <p:cNvSpPr/>
            <p:nvPr/>
          </p:nvSpPr>
          <p:spPr>
            <a:xfrm>
              <a:off x="3846629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5788 w 71890"/>
                <a:gd name="connsiteY1" fmla="*/ 71577 h 71576"/>
                <a:gd name="connsiteX2" fmla="*/ 0 w 71890"/>
                <a:gd name="connsiteY2" fmla="*/ 35789 h 71576"/>
                <a:gd name="connsiteX3" fmla="*/ 35788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3539089-F024-CEAA-2C1D-80753D9A96FE}"/>
                </a:ext>
              </a:extLst>
            </p:cNvPr>
            <p:cNvSpPr/>
            <p:nvPr/>
          </p:nvSpPr>
          <p:spPr>
            <a:xfrm>
              <a:off x="1521322" y="5789879"/>
              <a:ext cx="71576" cy="71890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BD1FAB8-E278-2CF8-573E-7DFCC80A86E6}"/>
                </a:ext>
              </a:extLst>
            </p:cNvPr>
            <p:cNvSpPr/>
            <p:nvPr/>
          </p:nvSpPr>
          <p:spPr>
            <a:xfrm>
              <a:off x="1839651" y="2508644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68820CC-AAE9-A4D7-893C-939BB6E7F6FE}"/>
                </a:ext>
              </a:extLst>
            </p:cNvPr>
            <p:cNvSpPr/>
            <p:nvPr/>
          </p:nvSpPr>
          <p:spPr>
            <a:xfrm>
              <a:off x="7064134" y="143342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2" y="103598"/>
                    <a:pt x="0" y="80367"/>
                    <a:pt x="0" y="51799"/>
                  </a:cubicBezTo>
                  <a:cubicBezTo>
                    <a:pt x="0" y="23231"/>
                    <a:pt x="23232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8D30843-0DF2-2719-0E4C-60D8EB984E51}"/>
                </a:ext>
              </a:extLst>
            </p:cNvPr>
            <p:cNvSpPr/>
            <p:nvPr/>
          </p:nvSpPr>
          <p:spPr>
            <a:xfrm>
              <a:off x="6928829" y="336882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FC2D51A-41D5-AE8C-AC3C-ADE8AB8AB931}"/>
                </a:ext>
              </a:extLst>
            </p:cNvPr>
            <p:cNvSpPr/>
            <p:nvPr userDrawn="1"/>
          </p:nvSpPr>
          <p:spPr>
            <a:xfrm>
              <a:off x="6474881" y="538817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064842120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1004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831979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783AD9A-61A7-DB66-FD3C-DB525BFE2B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280640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95" imgH="396" progId="TCLayout.ActiveDocument.1">
                  <p:embed/>
                </p:oleObj>
              </mc:Choice>
              <mc:Fallback>
                <p:oleObj name="think-cell Slide" r:id="rId51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783AD9A-61A7-DB66-FD3C-DB525BFE2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B9404D-C690-49B1-A383-63A32B911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24" y="215901"/>
            <a:ext cx="11588400" cy="77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251720-3CE2-4216-B8AE-F11B1138E5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1624" y="1135063"/>
            <a:ext cx="11588400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C667E5A-0E78-1CED-FA2E-5248BF866E23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5">
            <a:extLst>
              <a:ext uri="{FF2B5EF4-FFF2-40B4-BE49-F238E27FC236}">
                <a16:creationId xmlns:a16="http://schemas.microsoft.com/office/drawing/2014/main" id="{F6E2EF42-4260-CCCE-D366-D5F3E4BE489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BA5A083-41FC-AAC5-59DA-F4C3972966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 dirty="0">
              <a:solidFill>
                <a:srgbClr val="626469"/>
              </a:solidFill>
            </a:endParaRPr>
          </a:p>
        </p:txBody>
      </p:sp>
      <p:pic>
        <p:nvPicPr>
          <p:cNvPr id="42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17C08D68-C75C-0354-C2C0-9D93E2384F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961" y="6237798"/>
            <a:ext cx="1016574" cy="72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3533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4" r:id="rId2"/>
    <p:sldLayoutId id="2147483829" r:id="rId3"/>
    <p:sldLayoutId id="2147483868" r:id="rId4"/>
    <p:sldLayoutId id="2147483828" r:id="rId5"/>
    <p:sldLayoutId id="2147483863" r:id="rId6"/>
    <p:sldLayoutId id="2147483867" r:id="rId7"/>
    <p:sldLayoutId id="2147483849" r:id="rId8"/>
    <p:sldLayoutId id="2147483864" r:id="rId9"/>
    <p:sldLayoutId id="2147483832" r:id="rId10"/>
    <p:sldLayoutId id="2147483830" r:id="rId11"/>
    <p:sldLayoutId id="2147483833" r:id="rId12"/>
    <p:sldLayoutId id="2147483835" r:id="rId13"/>
    <p:sldLayoutId id="2147483839" r:id="rId14"/>
    <p:sldLayoutId id="2147483873" r:id="rId15"/>
    <p:sldLayoutId id="2147483834" r:id="rId16"/>
    <p:sldLayoutId id="2147483838" r:id="rId17"/>
    <p:sldLayoutId id="2147483841" r:id="rId18"/>
    <p:sldLayoutId id="2147483850" r:id="rId19"/>
    <p:sldLayoutId id="2147483847" r:id="rId20"/>
    <p:sldLayoutId id="2147483848" r:id="rId21"/>
    <p:sldLayoutId id="2147483845" r:id="rId22"/>
    <p:sldLayoutId id="2147483875" r:id="rId23"/>
    <p:sldLayoutId id="2147483876" r:id="rId24"/>
    <p:sldLayoutId id="2147483877" r:id="rId25"/>
    <p:sldLayoutId id="2147483853" r:id="rId26"/>
    <p:sldLayoutId id="2147483854" r:id="rId27"/>
    <p:sldLayoutId id="2147483855" r:id="rId28"/>
    <p:sldLayoutId id="2147483856" r:id="rId29"/>
    <p:sldLayoutId id="2147483857" r:id="rId30"/>
    <p:sldLayoutId id="2147483859" r:id="rId31"/>
    <p:sldLayoutId id="2147483874" r:id="rId32"/>
    <p:sldLayoutId id="2147483860" r:id="rId33"/>
    <p:sldLayoutId id="2147483869" r:id="rId34"/>
    <p:sldLayoutId id="2147483861" r:id="rId35"/>
    <p:sldLayoutId id="2147483870" r:id="rId36"/>
    <p:sldLayoutId id="2147483831" r:id="rId37"/>
    <p:sldLayoutId id="2147483865" r:id="rId38"/>
    <p:sldLayoutId id="2147483851" r:id="rId39"/>
    <p:sldLayoutId id="2147483852" r:id="rId40"/>
    <p:sldLayoutId id="2147483842" r:id="rId41"/>
    <p:sldLayoutId id="2147483866" r:id="rId42"/>
    <p:sldLayoutId id="2147483871" r:id="rId43"/>
    <p:sldLayoutId id="2147483843" r:id="rId44"/>
    <p:sldLayoutId id="2147483862" r:id="rId45"/>
    <p:sldLayoutId id="2147483872" r:id="rId46"/>
    <p:sldLayoutId id="2147483844" r:id="rId47"/>
    <p:sldLayoutId id="2147483846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73" userDrawn="1">
          <p15:clr>
            <a:srgbClr val="F26B43"/>
          </p15:clr>
        </p15:guide>
        <p15:guide id="3" pos="184" userDrawn="1">
          <p15:clr>
            <a:srgbClr val="F26B43"/>
          </p15:clr>
        </p15:guide>
        <p15:guide id="4" pos="3696" userDrawn="1">
          <p15:clr>
            <a:srgbClr val="F26B43"/>
          </p15:clr>
        </p15:guide>
        <p15:guide id="5" pos="3984" userDrawn="1">
          <p15:clr>
            <a:srgbClr val="F26B43"/>
          </p15:clr>
        </p15:guide>
        <p15:guide id="6" pos="7495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4320" userDrawn="1">
          <p15:clr>
            <a:srgbClr val="F26B43"/>
          </p15:clr>
        </p15:guide>
        <p15:guide id="9" orient="horz" pos="135" userDrawn="1">
          <p15:clr>
            <a:srgbClr val="F26B43"/>
          </p15:clr>
        </p15:guide>
        <p15:guide id="10" orient="horz" pos="3888" userDrawn="1">
          <p15:clr>
            <a:srgbClr val="F26B43"/>
          </p15:clr>
        </p15:guide>
        <p15:guide id="11" orient="horz" pos="70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1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12" Type="http://schemas.openxmlformats.org/officeDocument/2006/relationships/image" Target="../media/image17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1.jfif"/><Relationship Id="rId1" Type="http://schemas.openxmlformats.org/officeDocument/2006/relationships/tags" Target="../tags/tag51.xml"/><Relationship Id="rId6" Type="http://schemas.openxmlformats.org/officeDocument/2006/relationships/image" Target="../media/image13.svg"/><Relationship Id="rId11" Type="http://schemas.openxmlformats.org/officeDocument/2006/relationships/image" Target="../media/image16.png"/><Relationship Id="rId5" Type="http://schemas.openxmlformats.org/officeDocument/2006/relationships/image" Target="../media/image12.png"/><Relationship Id="rId15" Type="http://schemas.openxmlformats.org/officeDocument/2006/relationships/image" Target="../media/image20.jpeg"/><Relationship Id="rId10" Type="http://schemas.openxmlformats.org/officeDocument/2006/relationships/image" Target="../media/image1.emf"/><Relationship Id="rId4" Type="http://schemas.openxmlformats.org/officeDocument/2006/relationships/image" Target="../media/image11.png"/><Relationship Id="rId9" Type="http://schemas.openxmlformats.org/officeDocument/2006/relationships/oleObject" Target="../embeddings/oleObject50.bin"/><Relationship Id="rId14" Type="http://schemas.openxmlformats.org/officeDocument/2006/relationships/image" Target="../media/image19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26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2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svg"/><Relationship Id="rId11" Type="http://schemas.openxmlformats.org/officeDocument/2006/relationships/image" Target="../media/image24.jpeg"/><Relationship Id="rId5" Type="http://schemas.openxmlformats.org/officeDocument/2006/relationships/image" Target="../media/image34.png"/><Relationship Id="rId15" Type="http://schemas.openxmlformats.org/officeDocument/2006/relationships/image" Target="../media/image27.jpeg"/><Relationship Id="rId10" Type="http://schemas.openxmlformats.org/officeDocument/2006/relationships/image" Target="../media/image23.jpeg"/><Relationship Id="rId4" Type="http://schemas.openxmlformats.org/officeDocument/2006/relationships/image" Target="../media/image33.svg"/><Relationship Id="rId9" Type="http://schemas.openxmlformats.org/officeDocument/2006/relationships/image" Target="../media/image22.jpeg"/><Relationship Id="rId1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24.jpeg"/><Relationship Id="rId18" Type="http://schemas.openxmlformats.org/officeDocument/2006/relationships/image" Target="../media/image4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4.png"/><Relationship Id="rId12" Type="http://schemas.openxmlformats.org/officeDocument/2006/relationships/image" Target="../media/image23.jpeg"/><Relationship Id="rId17" Type="http://schemas.openxmlformats.org/officeDocument/2006/relationships/image" Target="../media/image28.jpeg"/><Relationship Id="rId2" Type="http://schemas.openxmlformats.org/officeDocument/2006/relationships/video" Target="../media/media1.mp4"/><Relationship Id="rId16" Type="http://schemas.openxmlformats.org/officeDocument/2006/relationships/image" Target="../media/image27.jpeg"/><Relationship Id="rId1" Type="http://schemas.microsoft.com/office/2007/relationships/media" Target="../media/media1.mp4"/><Relationship Id="rId6" Type="http://schemas.openxmlformats.org/officeDocument/2006/relationships/image" Target="../media/image33.svg"/><Relationship Id="rId11" Type="http://schemas.openxmlformats.org/officeDocument/2006/relationships/image" Target="../media/image22.jpeg"/><Relationship Id="rId5" Type="http://schemas.openxmlformats.org/officeDocument/2006/relationships/image" Target="../media/image32.png"/><Relationship Id="rId15" Type="http://schemas.openxmlformats.org/officeDocument/2006/relationships/image" Target="../media/image26.jpeg"/><Relationship Id="rId10" Type="http://schemas.openxmlformats.org/officeDocument/2006/relationships/image" Target="../media/image37.svg"/><Relationship Id="rId4" Type="http://schemas.openxmlformats.org/officeDocument/2006/relationships/image" Target="../media/image44.png"/><Relationship Id="rId9" Type="http://schemas.openxmlformats.org/officeDocument/2006/relationships/image" Target="../media/image36.png"/><Relationship Id="rId14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27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26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svg"/><Relationship Id="rId11" Type="http://schemas.openxmlformats.org/officeDocument/2006/relationships/image" Target="../media/image25.jpeg"/><Relationship Id="rId5" Type="http://schemas.openxmlformats.org/officeDocument/2006/relationships/image" Target="../media/image34.png"/><Relationship Id="rId15" Type="http://schemas.openxmlformats.org/officeDocument/2006/relationships/image" Target="../media/image23.jpeg"/><Relationship Id="rId10" Type="http://schemas.openxmlformats.org/officeDocument/2006/relationships/image" Target="../media/image24.jpeg"/><Relationship Id="rId4" Type="http://schemas.openxmlformats.org/officeDocument/2006/relationships/image" Target="../media/image33.svg"/><Relationship Id="rId9" Type="http://schemas.openxmlformats.org/officeDocument/2006/relationships/image" Target="../media/image22.jpeg"/><Relationship Id="rId1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24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23.jpeg"/><Relationship Id="rId17" Type="http://schemas.openxmlformats.org/officeDocument/2006/relationships/image" Target="../media/image28.jpeg"/><Relationship Id="rId2" Type="http://schemas.openxmlformats.org/officeDocument/2006/relationships/image" Target="../media/image46.png"/><Relationship Id="rId16" Type="http://schemas.openxmlformats.org/officeDocument/2006/relationships/image" Target="../media/image2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svg"/><Relationship Id="rId11" Type="http://schemas.openxmlformats.org/officeDocument/2006/relationships/image" Target="../media/image22.jpeg"/><Relationship Id="rId5" Type="http://schemas.openxmlformats.org/officeDocument/2006/relationships/image" Target="../media/image34.png"/><Relationship Id="rId15" Type="http://schemas.openxmlformats.org/officeDocument/2006/relationships/image" Target="../media/image26.jpeg"/><Relationship Id="rId10" Type="http://schemas.openxmlformats.org/officeDocument/2006/relationships/image" Target="../media/image48.gif"/><Relationship Id="rId4" Type="http://schemas.openxmlformats.org/officeDocument/2006/relationships/image" Target="../media/image33.svg"/><Relationship Id="rId9" Type="http://schemas.openxmlformats.org/officeDocument/2006/relationships/image" Target="../media/image47.jpeg"/><Relationship Id="rId14" Type="http://schemas.openxmlformats.org/officeDocument/2006/relationships/image" Target="../media/image25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25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50.gif"/><Relationship Id="rId17" Type="http://schemas.openxmlformats.org/officeDocument/2006/relationships/image" Target="../media/image51.gif"/><Relationship Id="rId2" Type="http://schemas.openxmlformats.org/officeDocument/2006/relationships/image" Target="../media/image49.jpg"/><Relationship Id="rId16" Type="http://schemas.openxmlformats.org/officeDocument/2006/relationships/image" Target="../media/image2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svg"/><Relationship Id="rId11" Type="http://schemas.openxmlformats.org/officeDocument/2006/relationships/image" Target="../media/image24.jpeg"/><Relationship Id="rId5" Type="http://schemas.openxmlformats.org/officeDocument/2006/relationships/image" Target="../media/image34.png"/><Relationship Id="rId15" Type="http://schemas.openxmlformats.org/officeDocument/2006/relationships/image" Target="../media/image27.jpeg"/><Relationship Id="rId10" Type="http://schemas.openxmlformats.org/officeDocument/2006/relationships/image" Target="../media/image23.jpeg"/><Relationship Id="rId4" Type="http://schemas.openxmlformats.org/officeDocument/2006/relationships/image" Target="../media/image33.svg"/><Relationship Id="rId9" Type="http://schemas.openxmlformats.org/officeDocument/2006/relationships/image" Target="../media/image22.jpeg"/><Relationship Id="rId14" Type="http://schemas.openxmlformats.org/officeDocument/2006/relationships/image" Target="../media/image2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2.jpeg"/><Relationship Id="rId7" Type="http://schemas.openxmlformats.org/officeDocument/2006/relationships/image" Target="../media/image50.gif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5.jpeg"/><Relationship Id="rId11" Type="http://schemas.openxmlformats.org/officeDocument/2006/relationships/image" Target="../media/image53.jpeg"/><Relationship Id="rId5" Type="http://schemas.openxmlformats.org/officeDocument/2006/relationships/image" Target="../media/image24.jpeg"/><Relationship Id="rId10" Type="http://schemas.openxmlformats.org/officeDocument/2006/relationships/image" Target="../media/image28.jpeg"/><Relationship Id="rId4" Type="http://schemas.openxmlformats.org/officeDocument/2006/relationships/image" Target="../media/image23.jpeg"/><Relationship Id="rId9" Type="http://schemas.openxmlformats.org/officeDocument/2006/relationships/image" Target="../media/image27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7.jpe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2.jpeg"/><Relationship Id="rId12" Type="http://schemas.openxmlformats.org/officeDocument/2006/relationships/image" Target="../media/image50.gif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55.png"/><Relationship Id="rId11" Type="http://schemas.openxmlformats.org/officeDocument/2006/relationships/image" Target="../media/image26.jpeg"/><Relationship Id="rId5" Type="http://schemas.openxmlformats.org/officeDocument/2006/relationships/image" Target="../media/image54.png"/><Relationship Id="rId10" Type="http://schemas.openxmlformats.org/officeDocument/2006/relationships/image" Target="../media/image25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4.jpeg"/><Relationship Id="rId14" Type="http://schemas.openxmlformats.org/officeDocument/2006/relationships/image" Target="../media/image28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2.jpeg"/><Relationship Id="rId7" Type="http://schemas.openxmlformats.org/officeDocument/2006/relationships/image" Target="../media/image50.gif"/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10" Type="http://schemas.openxmlformats.org/officeDocument/2006/relationships/image" Target="../media/image28.jpeg"/><Relationship Id="rId4" Type="http://schemas.openxmlformats.org/officeDocument/2006/relationships/image" Target="../media/image23.jpeg"/><Relationship Id="rId9" Type="http://schemas.openxmlformats.org/officeDocument/2006/relationships/image" Target="../media/image27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13" Type="http://schemas.openxmlformats.org/officeDocument/2006/relationships/image" Target="../media/image19.svg"/><Relationship Id="rId18" Type="http://schemas.openxmlformats.org/officeDocument/2006/relationships/image" Target="../media/image24.jpe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27.jpeg"/><Relationship Id="rId7" Type="http://schemas.openxmlformats.org/officeDocument/2006/relationships/image" Target="../media/image15.svg"/><Relationship Id="rId12" Type="http://schemas.openxmlformats.org/officeDocument/2006/relationships/image" Target="../media/image18.png"/><Relationship Id="rId17" Type="http://schemas.openxmlformats.org/officeDocument/2006/relationships/image" Target="../media/image23.jpe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2.jpeg"/><Relationship Id="rId20" Type="http://schemas.openxmlformats.org/officeDocument/2006/relationships/image" Target="../media/image26.jpeg"/><Relationship Id="rId1" Type="http://schemas.openxmlformats.org/officeDocument/2006/relationships/tags" Target="../tags/tag52.xml"/><Relationship Id="rId6" Type="http://schemas.openxmlformats.org/officeDocument/2006/relationships/image" Target="../media/image14.png"/><Relationship Id="rId11" Type="http://schemas.openxmlformats.org/officeDocument/2006/relationships/image" Target="../media/image17.svg"/><Relationship Id="rId5" Type="http://schemas.openxmlformats.org/officeDocument/2006/relationships/image" Target="../media/image13.svg"/><Relationship Id="rId15" Type="http://schemas.openxmlformats.org/officeDocument/2006/relationships/image" Target="../media/image21.jfif"/><Relationship Id="rId10" Type="http://schemas.openxmlformats.org/officeDocument/2006/relationships/image" Target="../media/image16.png"/><Relationship Id="rId19" Type="http://schemas.openxmlformats.org/officeDocument/2006/relationships/image" Target="../media/image25.jpeg"/><Relationship Id="rId4" Type="http://schemas.openxmlformats.org/officeDocument/2006/relationships/image" Target="../media/image12.png"/><Relationship Id="rId9" Type="http://schemas.openxmlformats.org/officeDocument/2006/relationships/image" Target="../media/image1.emf"/><Relationship Id="rId14" Type="http://schemas.openxmlformats.org/officeDocument/2006/relationships/image" Target="../media/image20.jpeg"/><Relationship Id="rId22" Type="http://schemas.openxmlformats.org/officeDocument/2006/relationships/image" Target="../media/image2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27.jpeg"/><Relationship Id="rId18" Type="http://schemas.openxmlformats.org/officeDocument/2006/relationships/image" Target="../media/image1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12" Type="http://schemas.openxmlformats.org/officeDocument/2006/relationships/image" Target="../media/image26.jpeg"/><Relationship Id="rId17" Type="http://schemas.openxmlformats.org/officeDocument/2006/relationships/image" Target="../media/image17.svg"/><Relationship Id="rId2" Type="http://schemas.openxmlformats.org/officeDocument/2006/relationships/tags" Target="../tags/tag54.xml"/><Relationship Id="rId16" Type="http://schemas.openxmlformats.org/officeDocument/2006/relationships/image" Target="../media/image16.png"/><Relationship Id="rId20" Type="http://schemas.openxmlformats.org/officeDocument/2006/relationships/image" Target="../media/image20.jpeg"/><Relationship Id="rId1" Type="http://schemas.openxmlformats.org/officeDocument/2006/relationships/tags" Target="../tags/tag53.xml"/><Relationship Id="rId6" Type="http://schemas.openxmlformats.org/officeDocument/2006/relationships/oleObject" Target="../embeddings/oleObject52.bin"/><Relationship Id="rId11" Type="http://schemas.openxmlformats.org/officeDocument/2006/relationships/image" Target="../media/image25.jpeg"/><Relationship Id="rId5" Type="http://schemas.openxmlformats.org/officeDocument/2006/relationships/image" Target="../media/image30.jpeg"/><Relationship Id="rId15" Type="http://schemas.openxmlformats.org/officeDocument/2006/relationships/oleObject" Target="../embeddings/oleObject50.bin"/><Relationship Id="rId10" Type="http://schemas.openxmlformats.org/officeDocument/2006/relationships/image" Target="../media/image24.jpeg"/><Relationship Id="rId19" Type="http://schemas.openxmlformats.org/officeDocument/2006/relationships/image" Target="../media/image19.svg"/><Relationship Id="rId4" Type="http://schemas.openxmlformats.org/officeDocument/2006/relationships/image" Target="../media/image29.png"/><Relationship Id="rId9" Type="http://schemas.openxmlformats.org/officeDocument/2006/relationships/image" Target="../media/image23.jpeg"/><Relationship Id="rId14" Type="http://schemas.openxmlformats.org/officeDocument/2006/relationships/image" Target="../media/image2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5.svg"/><Relationship Id="rId3" Type="http://schemas.openxmlformats.org/officeDocument/2006/relationships/image" Target="../media/image32.png"/><Relationship Id="rId7" Type="http://schemas.openxmlformats.org/officeDocument/2006/relationships/image" Target="../media/image24.jpeg"/><Relationship Id="rId12" Type="http://schemas.openxmlformats.org/officeDocument/2006/relationships/image" Target="../media/image34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22.jpeg"/><Relationship Id="rId15" Type="http://schemas.openxmlformats.org/officeDocument/2006/relationships/image" Target="../media/image37.svg"/><Relationship Id="rId10" Type="http://schemas.openxmlformats.org/officeDocument/2006/relationships/image" Target="../media/image27.jpeg"/><Relationship Id="rId4" Type="http://schemas.openxmlformats.org/officeDocument/2006/relationships/image" Target="../media/image33.svg"/><Relationship Id="rId9" Type="http://schemas.openxmlformats.org/officeDocument/2006/relationships/image" Target="../media/image26.jpeg"/><Relationship Id="rId1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26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svg"/><Relationship Id="rId11" Type="http://schemas.openxmlformats.org/officeDocument/2006/relationships/image" Target="../media/image24.jpeg"/><Relationship Id="rId5" Type="http://schemas.openxmlformats.org/officeDocument/2006/relationships/image" Target="../media/image34.png"/><Relationship Id="rId15" Type="http://schemas.openxmlformats.org/officeDocument/2006/relationships/image" Target="../media/image28.jpeg"/><Relationship Id="rId10" Type="http://schemas.openxmlformats.org/officeDocument/2006/relationships/image" Target="../media/image23.jpeg"/><Relationship Id="rId4" Type="http://schemas.openxmlformats.org/officeDocument/2006/relationships/image" Target="../media/image33.svg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24.jpeg"/><Relationship Id="rId3" Type="http://schemas.openxmlformats.org/officeDocument/2006/relationships/image" Target="../media/image39.png"/><Relationship Id="rId7" Type="http://schemas.openxmlformats.org/officeDocument/2006/relationships/image" Target="../media/image34.png"/><Relationship Id="rId12" Type="http://schemas.openxmlformats.org/officeDocument/2006/relationships/image" Target="../media/image23.jpeg"/><Relationship Id="rId17" Type="http://schemas.openxmlformats.org/officeDocument/2006/relationships/image" Target="../media/image28.jpeg"/><Relationship Id="rId2" Type="http://schemas.openxmlformats.org/officeDocument/2006/relationships/image" Target="../media/image38.png"/><Relationship Id="rId16" Type="http://schemas.openxmlformats.org/officeDocument/2006/relationships/image" Target="../media/image2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svg"/><Relationship Id="rId11" Type="http://schemas.openxmlformats.org/officeDocument/2006/relationships/image" Target="../media/image22.jpeg"/><Relationship Id="rId5" Type="http://schemas.openxmlformats.org/officeDocument/2006/relationships/image" Target="../media/image32.png"/><Relationship Id="rId15" Type="http://schemas.openxmlformats.org/officeDocument/2006/relationships/image" Target="../media/image26.jpeg"/><Relationship Id="rId10" Type="http://schemas.openxmlformats.org/officeDocument/2006/relationships/image" Target="../media/image37.svg"/><Relationship Id="rId4" Type="http://schemas.openxmlformats.org/officeDocument/2006/relationships/image" Target="../media/image40.png"/><Relationship Id="rId9" Type="http://schemas.openxmlformats.org/officeDocument/2006/relationships/image" Target="../media/image36.png"/><Relationship Id="rId14" Type="http://schemas.openxmlformats.org/officeDocument/2006/relationships/image" Target="../media/image4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24.jpeg"/><Relationship Id="rId3" Type="http://schemas.openxmlformats.org/officeDocument/2006/relationships/image" Target="../media/image39.png"/><Relationship Id="rId7" Type="http://schemas.openxmlformats.org/officeDocument/2006/relationships/image" Target="../media/image34.png"/><Relationship Id="rId12" Type="http://schemas.openxmlformats.org/officeDocument/2006/relationships/image" Target="../media/image23.jpeg"/><Relationship Id="rId17" Type="http://schemas.openxmlformats.org/officeDocument/2006/relationships/image" Target="../media/image28.jpeg"/><Relationship Id="rId2" Type="http://schemas.openxmlformats.org/officeDocument/2006/relationships/image" Target="../media/image38.png"/><Relationship Id="rId16" Type="http://schemas.openxmlformats.org/officeDocument/2006/relationships/image" Target="../media/image2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svg"/><Relationship Id="rId11" Type="http://schemas.openxmlformats.org/officeDocument/2006/relationships/image" Target="../media/image22.jpeg"/><Relationship Id="rId5" Type="http://schemas.openxmlformats.org/officeDocument/2006/relationships/image" Target="../media/image32.png"/><Relationship Id="rId15" Type="http://schemas.openxmlformats.org/officeDocument/2006/relationships/image" Target="../media/image26.jpeg"/><Relationship Id="rId10" Type="http://schemas.openxmlformats.org/officeDocument/2006/relationships/image" Target="../media/image37.svg"/><Relationship Id="rId4" Type="http://schemas.openxmlformats.org/officeDocument/2006/relationships/image" Target="../media/image40.png"/><Relationship Id="rId9" Type="http://schemas.openxmlformats.org/officeDocument/2006/relationships/image" Target="../media/image36.png"/><Relationship Id="rId14" Type="http://schemas.openxmlformats.org/officeDocument/2006/relationships/image" Target="../media/image4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26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25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svg"/><Relationship Id="rId11" Type="http://schemas.openxmlformats.org/officeDocument/2006/relationships/image" Target="../media/image24.jpeg"/><Relationship Id="rId5" Type="http://schemas.openxmlformats.org/officeDocument/2006/relationships/image" Target="../media/image34.png"/><Relationship Id="rId15" Type="http://schemas.openxmlformats.org/officeDocument/2006/relationships/image" Target="../media/image28.jpeg"/><Relationship Id="rId10" Type="http://schemas.openxmlformats.org/officeDocument/2006/relationships/image" Target="../media/image23.jpeg"/><Relationship Id="rId4" Type="http://schemas.openxmlformats.org/officeDocument/2006/relationships/image" Target="../media/image33.svg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27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26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svg"/><Relationship Id="rId11" Type="http://schemas.openxmlformats.org/officeDocument/2006/relationships/image" Target="../media/image25.jpeg"/><Relationship Id="rId5" Type="http://schemas.openxmlformats.org/officeDocument/2006/relationships/image" Target="../media/image34.png"/><Relationship Id="rId15" Type="http://schemas.openxmlformats.org/officeDocument/2006/relationships/image" Target="../media/image24.jpeg"/><Relationship Id="rId10" Type="http://schemas.openxmlformats.org/officeDocument/2006/relationships/image" Target="../media/image23.jpeg"/><Relationship Id="rId4" Type="http://schemas.openxmlformats.org/officeDocument/2006/relationships/image" Target="../media/image33.svg"/><Relationship Id="rId9" Type="http://schemas.openxmlformats.org/officeDocument/2006/relationships/image" Target="../media/image22.jpeg"/><Relationship Id="rId14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3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2065FD4-27B8-ABD9-4BA6-5FF4C11F6C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B7F1BE48-99B3-A131-85BE-1267645FC3B1}"/>
              </a:ext>
            </a:extLst>
          </p:cNvPr>
          <p:cNvGrpSpPr/>
          <p:nvPr/>
        </p:nvGrpSpPr>
        <p:grpSpPr>
          <a:xfrm>
            <a:off x="-2425448" y="0"/>
            <a:ext cx="2766007" cy="6856412"/>
            <a:chOff x="9751128" y="0"/>
            <a:chExt cx="2766007" cy="6856412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398E1F-D7D6-48B1-0F6B-C64E06A3C5ED}"/>
                </a:ext>
              </a:extLst>
            </p:cNvPr>
            <p:cNvSpPr/>
            <p:nvPr/>
          </p:nvSpPr>
          <p:spPr>
            <a:xfrm rot="5400000">
              <a:off x="7705926" y="2045202"/>
              <a:ext cx="6856412" cy="2766007"/>
            </a:xfrm>
            <a:custGeom>
              <a:avLst/>
              <a:gdLst>
                <a:gd name="connsiteX0" fmla="*/ 0 w 6856412"/>
                <a:gd name="connsiteY0" fmla="*/ 2766007 h 2766007"/>
                <a:gd name="connsiteX1" fmla="*/ 0 w 6856412"/>
                <a:gd name="connsiteY1" fmla="*/ 329900 h 2766007"/>
                <a:gd name="connsiteX2" fmla="*/ 768451 w 6856412"/>
                <a:gd name="connsiteY2" fmla="*/ 329900 h 2766007"/>
                <a:gd name="connsiteX3" fmla="*/ 1143736 w 6856412"/>
                <a:gd name="connsiteY3" fmla="*/ 0 h 2766007"/>
                <a:gd name="connsiteX4" fmla="*/ 1519021 w 6856412"/>
                <a:gd name="connsiteY4" fmla="*/ 329900 h 2766007"/>
                <a:gd name="connsiteX5" fmla="*/ 6856412 w 6856412"/>
                <a:gd name="connsiteY5" fmla="*/ 329900 h 2766007"/>
                <a:gd name="connsiteX6" fmla="*/ 6856412 w 6856412"/>
                <a:gd name="connsiteY6" fmla="*/ 2766007 h 2766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766007">
                  <a:moveTo>
                    <a:pt x="0" y="2766007"/>
                  </a:moveTo>
                  <a:lnTo>
                    <a:pt x="0" y="329900"/>
                  </a:lnTo>
                  <a:lnTo>
                    <a:pt x="768451" y="329900"/>
                  </a:lnTo>
                  <a:lnTo>
                    <a:pt x="1143736" y="0"/>
                  </a:lnTo>
                  <a:lnTo>
                    <a:pt x="1519021" y="329900"/>
                  </a:lnTo>
                  <a:lnTo>
                    <a:pt x="6856412" y="329900"/>
                  </a:lnTo>
                  <a:lnTo>
                    <a:pt x="6856412" y="2766007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21D7FCAD-7719-CDDC-CB69-944B99149589}"/>
                </a:ext>
              </a:extLst>
            </p:cNvPr>
            <p:cNvSpPr txBox="1"/>
            <p:nvPr/>
          </p:nvSpPr>
          <p:spPr>
            <a:xfrm>
              <a:off x="10348602" y="1275314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400" dirty="0"/>
                <a:t>Until he heard a knock at the door….</a:t>
              </a:r>
            </a:p>
          </p:txBody>
        </p:sp>
        <p:pic>
          <p:nvPicPr>
            <p:cNvPr id="46" name="Graphic 45" descr="Door Open with solid fill">
              <a:extLst>
                <a:ext uri="{FF2B5EF4-FFF2-40B4-BE49-F238E27FC236}">
                  <a16:creationId xmlns:a16="http://schemas.microsoft.com/office/drawing/2014/main" id="{4387FBF1-0DF0-2C82-7B73-1C4F792ACB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977185" y="3884141"/>
              <a:ext cx="2066081" cy="2066081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B8B5F0-64CF-7701-0751-81402AA924B1}"/>
              </a:ext>
            </a:extLst>
          </p:cNvPr>
          <p:cNvGrpSpPr/>
          <p:nvPr/>
        </p:nvGrpSpPr>
        <p:grpSpPr>
          <a:xfrm>
            <a:off x="-2616061" y="1588"/>
            <a:ext cx="2793769" cy="6856412"/>
            <a:chOff x="7315021" y="1588"/>
            <a:chExt cx="2793769" cy="6856412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D99A315-5EF9-55EB-D6F3-7DCDB39D50F1}"/>
                </a:ext>
              </a:extLst>
            </p:cNvPr>
            <p:cNvSpPr/>
            <p:nvPr/>
          </p:nvSpPr>
          <p:spPr>
            <a:xfrm rot="5400000">
              <a:off x="5283700" y="2032909"/>
              <a:ext cx="6856412" cy="2793769"/>
            </a:xfrm>
            <a:custGeom>
              <a:avLst/>
              <a:gdLst>
                <a:gd name="connsiteX0" fmla="*/ 0 w 6856412"/>
                <a:gd name="connsiteY0" fmla="*/ 2793769 h 2793769"/>
                <a:gd name="connsiteX1" fmla="*/ 0 w 6856412"/>
                <a:gd name="connsiteY1" fmla="*/ 357662 h 2793769"/>
                <a:gd name="connsiteX2" fmla="*/ 712420 w 6856412"/>
                <a:gd name="connsiteY2" fmla="*/ 357662 h 2793769"/>
                <a:gd name="connsiteX3" fmla="*/ 1119287 w 6856412"/>
                <a:gd name="connsiteY3" fmla="*/ 0 h 2793769"/>
                <a:gd name="connsiteX4" fmla="*/ 1526153 w 6856412"/>
                <a:gd name="connsiteY4" fmla="*/ 357662 h 2793769"/>
                <a:gd name="connsiteX5" fmla="*/ 6856412 w 6856412"/>
                <a:gd name="connsiteY5" fmla="*/ 357662 h 2793769"/>
                <a:gd name="connsiteX6" fmla="*/ 6856412 w 6856412"/>
                <a:gd name="connsiteY6" fmla="*/ 2793769 h 2793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793769">
                  <a:moveTo>
                    <a:pt x="0" y="2793769"/>
                  </a:moveTo>
                  <a:lnTo>
                    <a:pt x="0" y="357662"/>
                  </a:lnTo>
                  <a:lnTo>
                    <a:pt x="712420" y="357662"/>
                  </a:lnTo>
                  <a:lnTo>
                    <a:pt x="1119287" y="0"/>
                  </a:lnTo>
                  <a:lnTo>
                    <a:pt x="1526153" y="357662"/>
                  </a:lnTo>
                  <a:lnTo>
                    <a:pt x="6856412" y="357662"/>
                  </a:lnTo>
                  <a:lnTo>
                    <a:pt x="6856412" y="2793769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5471FC5-285F-4108-31C5-7AAD17B5345D}"/>
                </a:ext>
              </a:extLst>
            </p:cNvPr>
            <p:cNvSpPr txBox="1"/>
            <p:nvPr/>
          </p:nvSpPr>
          <p:spPr>
            <a:xfrm>
              <a:off x="7907582" y="1143736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It surely gave him a hard time and was definitely a tough season for him </a:t>
              </a:r>
            </a:p>
          </p:txBody>
        </p:sp>
        <p:pic>
          <p:nvPicPr>
            <p:cNvPr id="38" name="Graphic 37" descr="Tired face outline with solid fill">
              <a:extLst>
                <a:ext uri="{FF2B5EF4-FFF2-40B4-BE49-F238E27FC236}">
                  <a16:creationId xmlns:a16="http://schemas.microsoft.com/office/drawing/2014/main" id="{3EDDA588-50E9-9CAA-6CE3-9A377CD210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46181" y="4012393"/>
              <a:ext cx="1960978" cy="1960978"/>
            </a:xfrm>
            <a:prstGeom prst="rect">
              <a:avLst/>
            </a:prstGeom>
          </p:spPr>
        </p:pic>
      </p:grp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BF5C801C-8DB2-162B-4031-AC5992CA79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844329"/>
              </p:ext>
            </p:extLst>
          </p:nvPr>
        </p:nvGraphicFramePr>
        <p:xfrm>
          <a:off x="-31467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7BE17791-2EE3-5DEB-5A61-AC31A1134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-31467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>
            <a:extLst>
              <a:ext uri="{FF2B5EF4-FFF2-40B4-BE49-F238E27FC236}">
                <a16:creationId xmlns:a16="http://schemas.microsoft.com/office/drawing/2014/main" id="{D38BBDF4-1D29-284B-D70E-053AF4B323CA}"/>
              </a:ext>
            </a:extLst>
          </p:cNvPr>
          <p:cNvGrpSpPr/>
          <p:nvPr/>
        </p:nvGrpSpPr>
        <p:grpSpPr>
          <a:xfrm>
            <a:off x="-2792292" y="1587"/>
            <a:ext cx="2818998" cy="6856412"/>
            <a:chOff x="4881724" y="1587"/>
            <a:chExt cx="2818998" cy="6856412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440093D-6CC7-54D9-4C3E-D9DA24FADFCA}"/>
                </a:ext>
              </a:extLst>
            </p:cNvPr>
            <p:cNvSpPr/>
            <p:nvPr/>
          </p:nvSpPr>
          <p:spPr>
            <a:xfrm rot="5400000">
              <a:off x="2863017" y="2020294"/>
              <a:ext cx="6856412" cy="2818998"/>
            </a:xfrm>
            <a:custGeom>
              <a:avLst/>
              <a:gdLst>
                <a:gd name="connsiteX0" fmla="*/ 0 w 6856412"/>
                <a:gd name="connsiteY0" fmla="*/ 2818998 h 2818998"/>
                <a:gd name="connsiteX1" fmla="*/ 0 w 6856412"/>
                <a:gd name="connsiteY1" fmla="*/ 382891 h 2818998"/>
                <a:gd name="connsiteX2" fmla="*/ 683722 w 6856412"/>
                <a:gd name="connsiteY2" fmla="*/ 382891 h 2818998"/>
                <a:gd name="connsiteX3" fmla="*/ 1119289 w 6856412"/>
                <a:gd name="connsiteY3" fmla="*/ 0 h 2818998"/>
                <a:gd name="connsiteX4" fmla="*/ 1554855 w 6856412"/>
                <a:gd name="connsiteY4" fmla="*/ 382891 h 2818998"/>
                <a:gd name="connsiteX5" fmla="*/ 6856412 w 6856412"/>
                <a:gd name="connsiteY5" fmla="*/ 382891 h 2818998"/>
                <a:gd name="connsiteX6" fmla="*/ 6856412 w 6856412"/>
                <a:gd name="connsiteY6" fmla="*/ 2818998 h 281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818998">
                  <a:moveTo>
                    <a:pt x="0" y="2818998"/>
                  </a:moveTo>
                  <a:lnTo>
                    <a:pt x="0" y="382891"/>
                  </a:lnTo>
                  <a:lnTo>
                    <a:pt x="683722" y="382891"/>
                  </a:lnTo>
                  <a:lnTo>
                    <a:pt x="1119289" y="0"/>
                  </a:lnTo>
                  <a:lnTo>
                    <a:pt x="1554855" y="382891"/>
                  </a:lnTo>
                  <a:lnTo>
                    <a:pt x="6856412" y="382891"/>
                  </a:lnTo>
                  <a:lnTo>
                    <a:pt x="6856412" y="2818998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C79C51D-B03C-9894-DA7D-72234DF9EC10}"/>
                </a:ext>
              </a:extLst>
            </p:cNvPr>
            <p:cNvSpPr txBox="1"/>
            <p:nvPr/>
          </p:nvSpPr>
          <p:spPr>
            <a:xfrm>
              <a:off x="5466563" y="1020671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He was confident he could handle this land but later which turned into a nightmare</a:t>
              </a:r>
            </a:p>
          </p:txBody>
        </p:sp>
        <p:pic>
          <p:nvPicPr>
            <p:cNvPr id="40" name="Graphic 39" descr="Aspiration with solid fill">
              <a:extLst>
                <a:ext uri="{FF2B5EF4-FFF2-40B4-BE49-F238E27FC236}">
                  <a16:creationId xmlns:a16="http://schemas.microsoft.com/office/drawing/2014/main" id="{C05BC917-D4A3-B8E5-8BE8-4A73AF9C7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120341" y="4012393"/>
              <a:ext cx="2053521" cy="2053521"/>
            </a:xfrm>
            <a:prstGeom prst="rect">
              <a:avLst/>
            </a:prstGeom>
          </p:spPr>
        </p:pic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BCACC4-5968-F943-A021-4588A27775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2486898" y="6500138"/>
            <a:ext cx="2591374" cy="246888"/>
          </a:xfrm>
        </p:spPr>
        <p:txBody>
          <a:bodyPr/>
          <a:lstStyle/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E7DC9-BA5D-EDCD-EC1E-3344D01DE7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2843514" y="6500138"/>
            <a:ext cx="347472" cy="246888"/>
          </a:xfrm>
        </p:spPr>
        <p:txBody>
          <a:bodyPr/>
          <a:lstStyle/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1</a:t>
            </a:fld>
            <a:endParaRPr lang="en-GB" dirty="0">
              <a:solidFill>
                <a:srgbClr val="626469"/>
              </a:solidFill>
            </a:endParaRPr>
          </a:p>
        </p:txBody>
      </p:sp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FDDE5779-6FCB-5D23-1387-8B4CBB01CC7D}"/>
              </a:ext>
            </a:extLst>
          </p:cNvPr>
          <p:cNvSpPr/>
          <p:nvPr/>
        </p:nvSpPr>
        <p:spPr>
          <a:xfrm>
            <a:off x="-110144" y="1120877"/>
            <a:ext cx="45719" cy="45719"/>
          </a:xfrm>
          <a:prstGeom prst="wedgeRoundRectCallou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18FCF45-2E47-BB48-D108-90452C979BF3}"/>
              </a:ext>
            </a:extLst>
          </p:cNvPr>
          <p:cNvGrpSpPr/>
          <p:nvPr/>
        </p:nvGrpSpPr>
        <p:grpSpPr>
          <a:xfrm>
            <a:off x="-2973803" y="1588"/>
            <a:ext cx="2872264" cy="6856412"/>
            <a:chOff x="2454721" y="1588"/>
            <a:chExt cx="2872264" cy="6856412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DBA5EDD-8B1C-65FF-301F-8FC687106BB5}"/>
                </a:ext>
              </a:extLst>
            </p:cNvPr>
            <p:cNvSpPr/>
            <p:nvPr/>
          </p:nvSpPr>
          <p:spPr>
            <a:xfrm rot="5400000">
              <a:off x="462647" y="1993662"/>
              <a:ext cx="6856412" cy="2872264"/>
            </a:xfrm>
            <a:custGeom>
              <a:avLst/>
              <a:gdLst>
                <a:gd name="connsiteX0" fmla="*/ 0 w 6856412"/>
                <a:gd name="connsiteY0" fmla="*/ 2872264 h 2872264"/>
                <a:gd name="connsiteX1" fmla="*/ 0 w 6856412"/>
                <a:gd name="connsiteY1" fmla="*/ 436157 h 2872264"/>
                <a:gd name="connsiteX2" fmla="*/ 624715 w 6856412"/>
                <a:gd name="connsiteY2" fmla="*/ 436157 h 2872264"/>
                <a:gd name="connsiteX3" fmla="*/ 1120876 w 6856412"/>
                <a:gd name="connsiteY3" fmla="*/ 0 h 2872264"/>
                <a:gd name="connsiteX4" fmla="*/ 1617036 w 6856412"/>
                <a:gd name="connsiteY4" fmla="*/ 436157 h 2872264"/>
                <a:gd name="connsiteX5" fmla="*/ 6856412 w 6856412"/>
                <a:gd name="connsiteY5" fmla="*/ 436157 h 2872264"/>
                <a:gd name="connsiteX6" fmla="*/ 6856412 w 6856412"/>
                <a:gd name="connsiteY6" fmla="*/ 2872264 h 287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872264">
                  <a:moveTo>
                    <a:pt x="0" y="2872264"/>
                  </a:moveTo>
                  <a:lnTo>
                    <a:pt x="0" y="436157"/>
                  </a:lnTo>
                  <a:lnTo>
                    <a:pt x="624715" y="436157"/>
                  </a:lnTo>
                  <a:lnTo>
                    <a:pt x="1120876" y="0"/>
                  </a:lnTo>
                  <a:lnTo>
                    <a:pt x="1617036" y="436157"/>
                  </a:lnTo>
                  <a:lnTo>
                    <a:pt x="6856412" y="436157"/>
                  </a:lnTo>
                  <a:lnTo>
                    <a:pt x="6856412" y="2872264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66514C4-B8EA-A587-1049-EAAC9210667D}"/>
                </a:ext>
              </a:extLst>
            </p:cNvPr>
            <p:cNvSpPr txBox="1"/>
            <p:nvPr/>
          </p:nvSpPr>
          <p:spPr>
            <a:xfrm>
              <a:off x="2862675" y="820296"/>
              <a:ext cx="1608647" cy="1516284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Until he stumbled upon his inheritance from his family which was 200 Ha</a:t>
              </a:r>
            </a:p>
          </p:txBody>
        </p:sp>
        <p:pic>
          <p:nvPicPr>
            <p:cNvPr id="56" name="Graphic 55" descr="Flying Money with solid fill">
              <a:extLst>
                <a:ext uri="{FF2B5EF4-FFF2-40B4-BE49-F238E27FC236}">
                  <a16:creationId xmlns:a16="http://schemas.microsoft.com/office/drawing/2014/main" id="{987CC6E3-3DBE-ED20-E5CF-D9B32E79F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838270" y="4103514"/>
              <a:ext cx="1715654" cy="1715654"/>
            </a:xfrm>
            <a:prstGeom prst="rect">
              <a:avLst/>
            </a:prstGeom>
          </p:spPr>
        </p:pic>
      </p:grpSp>
      <p:grpSp>
        <p:nvGrpSpPr>
          <p:cNvPr id="47" name="intro1">
            <a:extLst>
              <a:ext uri="{FF2B5EF4-FFF2-40B4-BE49-F238E27FC236}">
                <a16:creationId xmlns:a16="http://schemas.microsoft.com/office/drawing/2014/main" id="{575D6CA6-0D13-9585-8329-DB0A15B31126}"/>
              </a:ext>
            </a:extLst>
          </p:cNvPr>
          <p:cNvGrpSpPr/>
          <p:nvPr/>
        </p:nvGrpSpPr>
        <p:grpSpPr>
          <a:xfrm>
            <a:off x="-3135992" y="1588"/>
            <a:ext cx="2872264" cy="6856412"/>
            <a:chOff x="12320" y="-1"/>
            <a:chExt cx="2872264" cy="6856412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C6BAB0C-F108-F8D2-F672-54F39757EFAF}"/>
                </a:ext>
              </a:extLst>
            </p:cNvPr>
            <p:cNvSpPr/>
            <p:nvPr/>
          </p:nvSpPr>
          <p:spPr>
            <a:xfrm rot="5400000">
              <a:off x="-1979754" y="1992073"/>
              <a:ext cx="6856412" cy="2872264"/>
            </a:xfrm>
            <a:custGeom>
              <a:avLst/>
              <a:gdLst>
                <a:gd name="connsiteX0" fmla="*/ 0 w 6856412"/>
                <a:gd name="connsiteY0" fmla="*/ 2872264 h 2872264"/>
                <a:gd name="connsiteX1" fmla="*/ 0 w 6856412"/>
                <a:gd name="connsiteY1" fmla="*/ 436157 h 2872264"/>
                <a:gd name="connsiteX2" fmla="*/ 624715 w 6856412"/>
                <a:gd name="connsiteY2" fmla="*/ 436157 h 2872264"/>
                <a:gd name="connsiteX3" fmla="*/ 1120876 w 6856412"/>
                <a:gd name="connsiteY3" fmla="*/ 0 h 2872264"/>
                <a:gd name="connsiteX4" fmla="*/ 1617036 w 6856412"/>
                <a:gd name="connsiteY4" fmla="*/ 436157 h 2872264"/>
                <a:gd name="connsiteX5" fmla="*/ 6856412 w 6856412"/>
                <a:gd name="connsiteY5" fmla="*/ 436157 h 2872264"/>
                <a:gd name="connsiteX6" fmla="*/ 6856412 w 6856412"/>
                <a:gd name="connsiteY6" fmla="*/ 2872264 h 287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872264">
                  <a:moveTo>
                    <a:pt x="0" y="2872264"/>
                  </a:moveTo>
                  <a:lnTo>
                    <a:pt x="0" y="436157"/>
                  </a:lnTo>
                  <a:lnTo>
                    <a:pt x="624715" y="436157"/>
                  </a:lnTo>
                  <a:lnTo>
                    <a:pt x="1120876" y="0"/>
                  </a:lnTo>
                  <a:lnTo>
                    <a:pt x="1617036" y="436157"/>
                  </a:lnTo>
                  <a:lnTo>
                    <a:pt x="6856412" y="436157"/>
                  </a:lnTo>
                  <a:lnTo>
                    <a:pt x="6856412" y="2872264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E9B7E44-AE2F-CDCD-7C64-0745CF756873}"/>
                </a:ext>
              </a:extLst>
            </p:cNvPr>
            <p:cNvSpPr txBox="1"/>
            <p:nvPr/>
          </p:nvSpPr>
          <p:spPr>
            <a:xfrm>
              <a:off x="420274" y="818707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Carlos is a small-scale grower in Brazil, having land of 30 Ha </a:t>
              </a:r>
            </a:p>
          </p:txBody>
        </p:sp>
        <p:pic>
          <p:nvPicPr>
            <p:cNvPr id="9218" name="Picture 2" descr="Rio de Janeiro | Pop Art | Brazilian Art Brazilian Art - Pop… | Flickr">
              <a:extLst>
                <a:ext uri="{FF2B5EF4-FFF2-40B4-BE49-F238E27FC236}">
                  <a16:creationId xmlns:a16="http://schemas.microsoft.com/office/drawing/2014/main" id="{0C61BC15-16D4-380B-5E34-30B72B1466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819" y="4181327"/>
              <a:ext cx="2129027" cy="1556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55C77044-77DB-BC6A-29FE-6C13FA938D13}"/>
              </a:ext>
            </a:extLst>
          </p:cNvPr>
          <p:cNvSpPr txBox="1"/>
          <p:nvPr/>
        </p:nvSpPr>
        <p:spPr>
          <a:xfrm rot="19045743">
            <a:off x="14536497" y="554887"/>
            <a:ext cx="2372483" cy="2047101"/>
          </a:xfrm>
          <a:custGeom>
            <a:avLst/>
            <a:gdLst/>
            <a:ahLst/>
            <a:cxnLst/>
            <a:rect l="l" t="t" r="r" b="b"/>
            <a:pathLst>
              <a:path w="5509311" h="4258596">
                <a:moveTo>
                  <a:pt x="4641069" y="3204476"/>
                </a:moveTo>
                <a:cubicBezTo>
                  <a:pt x="4632809" y="3204476"/>
                  <a:pt x="4625498" y="3207378"/>
                  <a:pt x="4619135" y="3213182"/>
                </a:cubicBezTo>
                <a:cubicBezTo>
                  <a:pt x="4612773" y="3218986"/>
                  <a:pt x="4609592" y="3225907"/>
                  <a:pt x="4609592" y="3233944"/>
                </a:cubicBezTo>
                <a:cubicBezTo>
                  <a:pt x="4609592" y="3243096"/>
                  <a:pt x="4613945" y="3253142"/>
                  <a:pt x="4622652" y="3264081"/>
                </a:cubicBezTo>
                <a:cubicBezTo>
                  <a:pt x="4631581" y="3275690"/>
                  <a:pt x="4640511" y="3281494"/>
                  <a:pt x="4649441" y="3281494"/>
                </a:cubicBezTo>
                <a:cubicBezTo>
                  <a:pt x="4657477" y="3281494"/>
                  <a:pt x="4664677" y="3278536"/>
                  <a:pt x="4671039" y="3272620"/>
                </a:cubicBezTo>
                <a:cubicBezTo>
                  <a:pt x="4677402" y="3266704"/>
                  <a:pt x="4680583" y="3259728"/>
                  <a:pt x="4680583" y="3251691"/>
                </a:cubicBezTo>
                <a:cubicBezTo>
                  <a:pt x="4680583" y="3242762"/>
                  <a:pt x="4676341" y="3232827"/>
                  <a:pt x="4667858" y="3221888"/>
                </a:cubicBezTo>
                <a:cubicBezTo>
                  <a:pt x="4658705" y="3210280"/>
                  <a:pt x="4649775" y="3204476"/>
                  <a:pt x="4641069" y="3204476"/>
                </a:cubicBezTo>
                <a:close/>
                <a:moveTo>
                  <a:pt x="4479144" y="3204476"/>
                </a:moveTo>
                <a:cubicBezTo>
                  <a:pt x="4470884" y="3204476"/>
                  <a:pt x="4463573" y="3207378"/>
                  <a:pt x="4457210" y="3213182"/>
                </a:cubicBezTo>
                <a:cubicBezTo>
                  <a:pt x="4450848" y="3218986"/>
                  <a:pt x="4447667" y="3225907"/>
                  <a:pt x="4447667" y="3233944"/>
                </a:cubicBezTo>
                <a:cubicBezTo>
                  <a:pt x="4447667" y="3243096"/>
                  <a:pt x="4452020" y="3253142"/>
                  <a:pt x="4460727" y="3264081"/>
                </a:cubicBezTo>
                <a:cubicBezTo>
                  <a:pt x="4469656" y="3275690"/>
                  <a:pt x="4478586" y="3281494"/>
                  <a:pt x="4487516" y="3281494"/>
                </a:cubicBezTo>
                <a:cubicBezTo>
                  <a:pt x="4495552" y="3281494"/>
                  <a:pt x="4502752" y="3278536"/>
                  <a:pt x="4509114" y="3272620"/>
                </a:cubicBezTo>
                <a:cubicBezTo>
                  <a:pt x="4515477" y="3266704"/>
                  <a:pt x="4518658" y="3259728"/>
                  <a:pt x="4518658" y="3251691"/>
                </a:cubicBezTo>
                <a:cubicBezTo>
                  <a:pt x="4518658" y="3242762"/>
                  <a:pt x="4514416" y="3232827"/>
                  <a:pt x="4505933" y="3221888"/>
                </a:cubicBezTo>
                <a:cubicBezTo>
                  <a:pt x="4496780" y="3210280"/>
                  <a:pt x="4487850" y="3204476"/>
                  <a:pt x="4479144" y="3204476"/>
                </a:cubicBezTo>
                <a:close/>
                <a:moveTo>
                  <a:pt x="4317219" y="3204476"/>
                </a:moveTo>
                <a:cubicBezTo>
                  <a:pt x="4308959" y="3204476"/>
                  <a:pt x="4301648" y="3207378"/>
                  <a:pt x="4295285" y="3213182"/>
                </a:cubicBezTo>
                <a:cubicBezTo>
                  <a:pt x="4288923" y="3218986"/>
                  <a:pt x="4285742" y="3225907"/>
                  <a:pt x="4285742" y="3233944"/>
                </a:cubicBezTo>
                <a:cubicBezTo>
                  <a:pt x="4285742" y="3243096"/>
                  <a:pt x="4290095" y="3253142"/>
                  <a:pt x="4298801" y="3264081"/>
                </a:cubicBezTo>
                <a:cubicBezTo>
                  <a:pt x="4307731" y="3275690"/>
                  <a:pt x="4316661" y="3281494"/>
                  <a:pt x="4325591" y="3281494"/>
                </a:cubicBezTo>
                <a:cubicBezTo>
                  <a:pt x="4333627" y="3281494"/>
                  <a:pt x="4340827" y="3278536"/>
                  <a:pt x="4347189" y="3272620"/>
                </a:cubicBezTo>
                <a:cubicBezTo>
                  <a:pt x="4353552" y="3266704"/>
                  <a:pt x="4356733" y="3259728"/>
                  <a:pt x="4356733" y="3251691"/>
                </a:cubicBezTo>
                <a:cubicBezTo>
                  <a:pt x="4356733" y="3242762"/>
                  <a:pt x="4352491" y="3232827"/>
                  <a:pt x="4344008" y="3221888"/>
                </a:cubicBezTo>
                <a:cubicBezTo>
                  <a:pt x="4334855" y="3210280"/>
                  <a:pt x="4325925" y="3204476"/>
                  <a:pt x="4317219" y="3204476"/>
                </a:cubicBezTo>
                <a:close/>
                <a:moveTo>
                  <a:pt x="3713870" y="2980117"/>
                </a:moveTo>
                <a:cubicBezTo>
                  <a:pt x="3763653" y="2980340"/>
                  <a:pt x="3786981" y="3023649"/>
                  <a:pt x="3783856" y="3110044"/>
                </a:cubicBezTo>
                <a:cubicBezTo>
                  <a:pt x="3782740" y="3141968"/>
                  <a:pt x="3772694" y="3167306"/>
                  <a:pt x="3753718" y="3186058"/>
                </a:cubicBezTo>
                <a:cubicBezTo>
                  <a:pt x="3736975" y="3203024"/>
                  <a:pt x="3716995" y="3211508"/>
                  <a:pt x="3693778" y="3211508"/>
                </a:cubicBezTo>
                <a:cubicBezTo>
                  <a:pt x="3673909" y="3211508"/>
                  <a:pt x="3656608" y="3204029"/>
                  <a:pt x="3641874" y="3189072"/>
                </a:cubicBezTo>
                <a:cubicBezTo>
                  <a:pt x="3624238" y="3170989"/>
                  <a:pt x="3615420" y="3145763"/>
                  <a:pt x="3615420" y="3113393"/>
                </a:cubicBezTo>
                <a:cubicBezTo>
                  <a:pt x="3615420" y="3081023"/>
                  <a:pt x="3622675" y="3052224"/>
                  <a:pt x="3637186" y="3026998"/>
                </a:cubicBezTo>
                <a:cubicBezTo>
                  <a:pt x="3655492" y="2995521"/>
                  <a:pt x="3681053" y="2979894"/>
                  <a:pt x="3713870" y="2980117"/>
                </a:cubicBezTo>
                <a:close/>
                <a:moveTo>
                  <a:pt x="637295" y="2980117"/>
                </a:moveTo>
                <a:cubicBezTo>
                  <a:pt x="687078" y="2980340"/>
                  <a:pt x="710407" y="3023649"/>
                  <a:pt x="707281" y="3110044"/>
                </a:cubicBezTo>
                <a:cubicBezTo>
                  <a:pt x="706165" y="3141968"/>
                  <a:pt x="696119" y="3167306"/>
                  <a:pt x="677144" y="3186058"/>
                </a:cubicBezTo>
                <a:cubicBezTo>
                  <a:pt x="660401" y="3203024"/>
                  <a:pt x="640420" y="3211508"/>
                  <a:pt x="617203" y="3211508"/>
                </a:cubicBezTo>
                <a:cubicBezTo>
                  <a:pt x="597334" y="3211508"/>
                  <a:pt x="580033" y="3204029"/>
                  <a:pt x="565299" y="3189072"/>
                </a:cubicBezTo>
                <a:cubicBezTo>
                  <a:pt x="547663" y="3170989"/>
                  <a:pt x="538845" y="3145763"/>
                  <a:pt x="538845" y="3113393"/>
                </a:cubicBezTo>
                <a:cubicBezTo>
                  <a:pt x="538845" y="3081023"/>
                  <a:pt x="546100" y="3052224"/>
                  <a:pt x="560611" y="3026998"/>
                </a:cubicBezTo>
                <a:cubicBezTo>
                  <a:pt x="578917" y="2995521"/>
                  <a:pt x="604478" y="2979894"/>
                  <a:pt x="637295" y="2980117"/>
                </a:cubicBezTo>
                <a:close/>
                <a:moveTo>
                  <a:pt x="1374105" y="2970071"/>
                </a:moveTo>
                <a:cubicBezTo>
                  <a:pt x="1384375" y="2970071"/>
                  <a:pt x="1394309" y="2971746"/>
                  <a:pt x="1403908" y="2975094"/>
                </a:cubicBezTo>
                <a:cubicBezTo>
                  <a:pt x="1413508" y="2978443"/>
                  <a:pt x="1422773" y="2983577"/>
                  <a:pt x="1431702" y="2990498"/>
                </a:cubicBezTo>
                <a:cubicBezTo>
                  <a:pt x="1426344" y="3042067"/>
                  <a:pt x="1421321" y="3079906"/>
                  <a:pt x="1416633" y="3104017"/>
                </a:cubicBezTo>
                <a:cubicBezTo>
                  <a:pt x="1413954" y="3127011"/>
                  <a:pt x="1403015" y="3150228"/>
                  <a:pt x="1383817" y="3173668"/>
                </a:cubicBezTo>
                <a:cubicBezTo>
                  <a:pt x="1362609" y="3199118"/>
                  <a:pt x="1340731" y="3211843"/>
                  <a:pt x="1318183" y="3211843"/>
                </a:cubicBezTo>
                <a:cubicBezTo>
                  <a:pt x="1293627" y="3211843"/>
                  <a:pt x="1275209" y="3203694"/>
                  <a:pt x="1262931" y="3187398"/>
                </a:cubicBezTo>
                <a:cubicBezTo>
                  <a:pt x="1250653" y="3171101"/>
                  <a:pt x="1244513" y="3146767"/>
                  <a:pt x="1244513" y="3114397"/>
                </a:cubicBezTo>
                <a:cubicBezTo>
                  <a:pt x="1244513" y="3073767"/>
                  <a:pt x="1254894" y="3040281"/>
                  <a:pt x="1275656" y="3013938"/>
                </a:cubicBezTo>
                <a:cubicBezTo>
                  <a:pt x="1298873" y="2984694"/>
                  <a:pt x="1331690" y="2970071"/>
                  <a:pt x="1374105" y="2970071"/>
                </a:cubicBezTo>
                <a:close/>
                <a:moveTo>
                  <a:pt x="2658269" y="2969736"/>
                </a:moveTo>
                <a:cubicBezTo>
                  <a:pt x="2692872" y="2969736"/>
                  <a:pt x="2719772" y="2978666"/>
                  <a:pt x="2738971" y="2996525"/>
                </a:cubicBezTo>
                <a:cubicBezTo>
                  <a:pt x="2721781" y="3011036"/>
                  <a:pt x="2692983" y="3028114"/>
                  <a:pt x="2652576" y="3047760"/>
                </a:cubicBezTo>
                <a:lnTo>
                  <a:pt x="2549773" y="3096650"/>
                </a:lnTo>
                <a:cubicBezTo>
                  <a:pt x="2558703" y="3054234"/>
                  <a:pt x="2572209" y="3022477"/>
                  <a:pt x="2590292" y="3001381"/>
                </a:cubicBezTo>
                <a:cubicBezTo>
                  <a:pt x="2608374" y="2980285"/>
                  <a:pt x="2631033" y="2969736"/>
                  <a:pt x="2658269" y="2969736"/>
                </a:cubicBezTo>
                <a:close/>
                <a:moveTo>
                  <a:pt x="3046152" y="2969067"/>
                </a:moveTo>
                <a:cubicBezTo>
                  <a:pt x="3049724" y="2969067"/>
                  <a:pt x="3054468" y="2970071"/>
                  <a:pt x="3060384" y="2972080"/>
                </a:cubicBezTo>
                <a:cubicBezTo>
                  <a:pt x="3066300" y="2974090"/>
                  <a:pt x="3073388" y="2977215"/>
                  <a:pt x="3081648" y="2981457"/>
                </a:cubicBezTo>
                <a:cubicBezTo>
                  <a:pt x="3079192" y="2994181"/>
                  <a:pt x="3077350" y="3006181"/>
                  <a:pt x="3076123" y="3017454"/>
                </a:cubicBezTo>
                <a:cubicBezTo>
                  <a:pt x="3074895" y="3028728"/>
                  <a:pt x="3074281" y="3039165"/>
                  <a:pt x="3074281" y="3048764"/>
                </a:cubicBezTo>
                <a:cubicBezTo>
                  <a:pt x="3074281" y="3078232"/>
                  <a:pt x="3077853" y="3122546"/>
                  <a:pt x="3084996" y="3181705"/>
                </a:cubicBezTo>
                <a:cubicBezTo>
                  <a:pt x="3070486" y="3194430"/>
                  <a:pt x="3059212" y="3202913"/>
                  <a:pt x="3051175" y="3207154"/>
                </a:cubicBezTo>
                <a:cubicBezTo>
                  <a:pt x="3036218" y="3214968"/>
                  <a:pt x="3018024" y="3218875"/>
                  <a:pt x="2996593" y="3218875"/>
                </a:cubicBezTo>
                <a:cubicBezTo>
                  <a:pt x="2970696" y="3218875"/>
                  <a:pt x="2951274" y="3209722"/>
                  <a:pt x="2938326" y="3191416"/>
                </a:cubicBezTo>
                <a:cubicBezTo>
                  <a:pt x="2925378" y="3173110"/>
                  <a:pt x="2918904" y="3145651"/>
                  <a:pt x="2918904" y="3109040"/>
                </a:cubicBezTo>
                <a:cubicBezTo>
                  <a:pt x="2918904" y="3072205"/>
                  <a:pt x="2931462" y="3039667"/>
                  <a:pt x="2956576" y="3011427"/>
                </a:cubicBezTo>
                <a:cubicBezTo>
                  <a:pt x="2981691" y="2983187"/>
                  <a:pt x="3011550" y="2969067"/>
                  <a:pt x="3046152" y="2969067"/>
                </a:cubicBezTo>
                <a:close/>
                <a:moveTo>
                  <a:pt x="1377454" y="2916493"/>
                </a:moveTo>
                <a:cubicBezTo>
                  <a:pt x="1315839" y="2916493"/>
                  <a:pt x="1267172" y="2935469"/>
                  <a:pt x="1231454" y="2973420"/>
                </a:cubicBezTo>
                <a:cubicBezTo>
                  <a:pt x="1196851" y="3010255"/>
                  <a:pt x="1179550" y="3058810"/>
                  <a:pt x="1179550" y="3119085"/>
                </a:cubicBezTo>
                <a:cubicBezTo>
                  <a:pt x="1179550" y="3163064"/>
                  <a:pt x="1192219" y="3198839"/>
                  <a:pt x="1217557" y="3226409"/>
                </a:cubicBezTo>
                <a:cubicBezTo>
                  <a:pt x="1242895" y="3253980"/>
                  <a:pt x="1275768" y="3267765"/>
                  <a:pt x="1316174" y="3267765"/>
                </a:cubicBezTo>
                <a:cubicBezTo>
                  <a:pt x="1337606" y="3267765"/>
                  <a:pt x="1356637" y="3262184"/>
                  <a:pt x="1373268" y="3251022"/>
                </a:cubicBezTo>
                <a:cubicBezTo>
                  <a:pt x="1389900" y="3239859"/>
                  <a:pt x="1404243" y="3223116"/>
                  <a:pt x="1416298" y="3200792"/>
                </a:cubicBezTo>
                <a:cubicBezTo>
                  <a:pt x="1415629" y="3257272"/>
                  <a:pt x="1409936" y="3299130"/>
                  <a:pt x="1399220" y="3326366"/>
                </a:cubicBezTo>
                <a:cubicBezTo>
                  <a:pt x="1382924" y="3367219"/>
                  <a:pt x="1353344" y="3387981"/>
                  <a:pt x="1310482" y="3388650"/>
                </a:cubicBezTo>
                <a:cubicBezTo>
                  <a:pt x="1287711" y="3389097"/>
                  <a:pt x="1266949" y="3387367"/>
                  <a:pt x="1248197" y="3383460"/>
                </a:cubicBezTo>
                <a:cubicBezTo>
                  <a:pt x="1229445" y="3379553"/>
                  <a:pt x="1216050" y="3377600"/>
                  <a:pt x="1208013" y="3377600"/>
                </a:cubicBezTo>
                <a:cubicBezTo>
                  <a:pt x="1188591" y="3377600"/>
                  <a:pt x="1178880" y="3387534"/>
                  <a:pt x="1178880" y="3407403"/>
                </a:cubicBezTo>
                <a:cubicBezTo>
                  <a:pt x="1178880" y="3425039"/>
                  <a:pt x="1192945" y="3436647"/>
                  <a:pt x="1221073" y="3442228"/>
                </a:cubicBezTo>
                <a:cubicBezTo>
                  <a:pt x="1241165" y="3446247"/>
                  <a:pt x="1266056" y="3448256"/>
                  <a:pt x="1295748" y="3448256"/>
                </a:cubicBezTo>
                <a:cubicBezTo>
                  <a:pt x="1346424" y="3448256"/>
                  <a:pt x="1385156" y="3437875"/>
                  <a:pt x="1411945" y="3417114"/>
                </a:cubicBezTo>
                <a:cubicBezTo>
                  <a:pt x="1434046" y="3399924"/>
                  <a:pt x="1450120" y="3373247"/>
                  <a:pt x="1460165" y="3337081"/>
                </a:cubicBezTo>
                <a:cubicBezTo>
                  <a:pt x="1467979" y="3308730"/>
                  <a:pt x="1472555" y="3272230"/>
                  <a:pt x="1473895" y="3227581"/>
                </a:cubicBezTo>
                <a:lnTo>
                  <a:pt x="1481597" y="3115067"/>
                </a:lnTo>
                <a:cubicBezTo>
                  <a:pt x="1482490" y="3103905"/>
                  <a:pt x="1485503" y="3082920"/>
                  <a:pt x="1490638" y="3052113"/>
                </a:cubicBezTo>
                <a:cubicBezTo>
                  <a:pt x="1495326" y="3025547"/>
                  <a:pt x="1497670" y="3004339"/>
                  <a:pt x="1497670" y="2988489"/>
                </a:cubicBezTo>
                <a:cubicBezTo>
                  <a:pt x="1497670" y="2962593"/>
                  <a:pt x="1485727" y="2949310"/>
                  <a:pt x="1461840" y="2948640"/>
                </a:cubicBezTo>
                <a:cubicBezTo>
                  <a:pt x="1454473" y="2937924"/>
                  <a:pt x="1443757" y="2929888"/>
                  <a:pt x="1429693" y="2924530"/>
                </a:cubicBezTo>
                <a:cubicBezTo>
                  <a:pt x="1415629" y="2919172"/>
                  <a:pt x="1398216" y="2916493"/>
                  <a:pt x="1377454" y="2916493"/>
                </a:cubicBezTo>
                <a:close/>
                <a:moveTo>
                  <a:pt x="3718223" y="2912140"/>
                </a:moveTo>
                <a:cubicBezTo>
                  <a:pt x="3662412" y="2912140"/>
                  <a:pt x="3618880" y="2934799"/>
                  <a:pt x="3587626" y="2980117"/>
                </a:cubicBezTo>
                <a:cubicBezTo>
                  <a:pt x="3560837" y="3018515"/>
                  <a:pt x="3548112" y="3062940"/>
                  <a:pt x="3549452" y="3113393"/>
                </a:cubicBezTo>
                <a:cubicBezTo>
                  <a:pt x="3551014" y="3165408"/>
                  <a:pt x="3566865" y="3206820"/>
                  <a:pt x="3597002" y="3237627"/>
                </a:cubicBezTo>
                <a:cubicBezTo>
                  <a:pt x="3624015" y="3265309"/>
                  <a:pt x="3656273" y="3279150"/>
                  <a:pt x="3693778" y="3279150"/>
                </a:cubicBezTo>
                <a:cubicBezTo>
                  <a:pt x="3740882" y="3279150"/>
                  <a:pt x="3778722" y="3259282"/>
                  <a:pt x="3807297" y="3219544"/>
                </a:cubicBezTo>
                <a:cubicBezTo>
                  <a:pt x="3832523" y="3184495"/>
                  <a:pt x="3845471" y="3142191"/>
                  <a:pt x="3846141" y="3092631"/>
                </a:cubicBezTo>
                <a:cubicBezTo>
                  <a:pt x="3846810" y="3046197"/>
                  <a:pt x="3837992" y="3006460"/>
                  <a:pt x="3819686" y="2973420"/>
                </a:cubicBezTo>
                <a:cubicBezTo>
                  <a:pt x="3796693" y="2932567"/>
                  <a:pt x="3762871" y="2912140"/>
                  <a:pt x="3718223" y="2912140"/>
                </a:cubicBezTo>
                <a:close/>
                <a:moveTo>
                  <a:pt x="641648" y="2912140"/>
                </a:moveTo>
                <a:cubicBezTo>
                  <a:pt x="585837" y="2912140"/>
                  <a:pt x="542305" y="2934799"/>
                  <a:pt x="511051" y="2980117"/>
                </a:cubicBezTo>
                <a:cubicBezTo>
                  <a:pt x="484262" y="3018515"/>
                  <a:pt x="471537" y="3062940"/>
                  <a:pt x="472877" y="3113393"/>
                </a:cubicBezTo>
                <a:cubicBezTo>
                  <a:pt x="474440" y="3165408"/>
                  <a:pt x="490290" y="3206820"/>
                  <a:pt x="520427" y="3237627"/>
                </a:cubicBezTo>
                <a:cubicBezTo>
                  <a:pt x="547440" y="3265309"/>
                  <a:pt x="579698" y="3279150"/>
                  <a:pt x="617203" y="3279150"/>
                </a:cubicBezTo>
                <a:cubicBezTo>
                  <a:pt x="664307" y="3279150"/>
                  <a:pt x="702147" y="3259282"/>
                  <a:pt x="730722" y="3219544"/>
                </a:cubicBezTo>
                <a:cubicBezTo>
                  <a:pt x="755948" y="3184495"/>
                  <a:pt x="768896" y="3142191"/>
                  <a:pt x="769566" y="3092631"/>
                </a:cubicBezTo>
                <a:cubicBezTo>
                  <a:pt x="770236" y="3046197"/>
                  <a:pt x="761418" y="3006460"/>
                  <a:pt x="743111" y="2973420"/>
                </a:cubicBezTo>
                <a:cubicBezTo>
                  <a:pt x="720118" y="2932567"/>
                  <a:pt x="686297" y="2912140"/>
                  <a:pt x="641648" y="2912140"/>
                </a:cubicBezTo>
                <a:close/>
                <a:moveTo>
                  <a:pt x="3041799" y="2909796"/>
                </a:moveTo>
                <a:cubicBezTo>
                  <a:pt x="2990230" y="2909796"/>
                  <a:pt x="2945861" y="2928995"/>
                  <a:pt x="2908691" y="2967392"/>
                </a:cubicBezTo>
                <a:cubicBezTo>
                  <a:pt x="2871521" y="3005790"/>
                  <a:pt x="2852936" y="3052001"/>
                  <a:pt x="2852936" y="3106026"/>
                </a:cubicBezTo>
                <a:cubicBezTo>
                  <a:pt x="2852936" y="3163176"/>
                  <a:pt x="2864210" y="3205592"/>
                  <a:pt x="2886757" y="3233274"/>
                </a:cubicBezTo>
                <a:cubicBezTo>
                  <a:pt x="2910644" y="3262742"/>
                  <a:pt x="2948707" y="3277476"/>
                  <a:pt x="3000946" y="3277476"/>
                </a:cubicBezTo>
                <a:cubicBezTo>
                  <a:pt x="3011885" y="3277476"/>
                  <a:pt x="3025502" y="3274518"/>
                  <a:pt x="3041799" y="3268602"/>
                </a:cubicBezTo>
                <a:cubicBezTo>
                  <a:pt x="3058096" y="3262686"/>
                  <a:pt x="3076960" y="3253924"/>
                  <a:pt x="3098391" y="3242315"/>
                </a:cubicBezTo>
                <a:cubicBezTo>
                  <a:pt x="3103302" y="3249459"/>
                  <a:pt x="3110781" y="3257607"/>
                  <a:pt x="3120827" y="3266760"/>
                </a:cubicBezTo>
                <a:cubicBezTo>
                  <a:pt x="3131989" y="3276583"/>
                  <a:pt x="3139691" y="3281494"/>
                  <a:pt x="3143932" y="3281494"/>
                </a:cubicBezTo>
                <a:cubicBezTo>
                  <a:pt x="3152192" y="3281494"/>
                  <a:pt x="3159448" y="3278592"/>
                  <a:pt x="3165698" y="3272788"/>
                </a:cubicBezTo>
                <a:cubicBezTo>
                  <a:pt x="3171949" y="3266983"/>
                  <a:pt x="3175075" y="3259616"/>
                  <a:pt x="3175075" y="3250687"/>
                </a:cubicBezTo>
                <a:lnTo>
                  <a:pt x="3173065" y="3244994"/>
                </a:lnTo>
                <a:cubicBezTo>
                  <a:pt x="3169494" y="3237181"/>
                  <a:pt x="3166926" y="3231265"/>
                  <a:pt x="3165364" y="3227246"/>
                </a:cubicBezTo>
                <a:cubicBezTo>
                  <a:pt x="3153532" y="3197778"/>
                  <a:pt x="3146500" y="3178133"/>
                  <a:pt x="3144267" y="3168310"/>
                </a:cubicBezTo>
                <a:cubicBezTo>
                  <a:pt x="3140249" y="3152237"/>
                  <a:pt x="3138351" y="3130359"/>
                  <a:pt x="3138575" y="3102677"/>
                </a:cubicBezTo>
                <a:cubicBezTo>
                  <a:pt x="3138798" y="3072316"/>
                  <a:pt x="3139523" y="3047425"/>
                  <a:pt x="3140751" y="3028003"/>
                </a:cubicBezTo>
                <a:cubicBezTo>
                  <a:pt x="3141979" y="3008581"/>
                  <a:pt x="3143709" y="2994628"/>
                  <a:pt x="3145942" y="2986145"/>
                </a:cubicBezTo>
                <a:cubicBezTo>
                  <a:pt x="3150406" y="2981457"/>
                  <a:pt x="3152639" y="2976099"/>
                  <a:pt x="3152639" y="2970071"/>
                </a:cubicBezTo>
                <a:cubicBezTo>
                  <a:pt x="3152639" y="2952435"/>
                  <a:pt x="3137458" y="2937366"/>
                  <a:pt x="3107097" y="2924865"/>
                </a:cubicBezTo>
                <a:cubicBezTo>
                  <a:pt x="3082987" y="2914819"/>
                  <a:pt x="3061221" y="2909796"/>
                  <a:pt x="3041799" y="2909796"/>
                </a:cubicBezTo>
                <a:close/>
                <a:moveTo>
                  <a:pt x="2658269" y="2909461"/>
                </a:moveTo>
                <a:cubicBezTo>
                  <a:pt x="2607147" y="2909461"/>
                  <a:pt x="2566293" y="2930892"/>
                  <a:pt x="2535709" y="2973755"/>
                </a:cubicBezTo>
                <a:cubicBezTo>
                  <a:pt x="2507580" y="3013045"/>
                  <a:pt x="2493516" y="3061712"/>
                  <a:pt x="2493516" y="3119755"/>
                </a:cubicBezTo>
                <a:cubicBezTo>
                  <a:pt x="2493516" y="3169985"/>
                  <a:pt x="2510594" y="3209052"/>
                  <a:pt x="2544750" y="3236957"/>
                </a:cubicBezTo>
                <a:cubicBezTo>
                  <a:pt x="2576004" y="3262184"/>
                  <a:pt x="2616858" y="3274797"/>
                  <a:pt x="2667310" y="3274797"/>
                </a:cubicBezTo>
                <a:cubicBezTo>
                  <a:pt x="2699680" y="3274797"/>
                  <a:pt x="2732943" y="3267207"/>
                  <a:pt x="2767100" y="3252026"/>
                </a:cubicBezTo>
                <a:cubicBezTo>
                  <a:pt x="2807060" y="3234167"/>
                  <a:pt x="2827040" y="3212847"/>
                  <a:pt x="2827040" y="3188067"/>
                </a:cubicBezTo>
                <a:cubicBezTo>
                  <a:pt x="2827040" y="3180254"/>
                  <a:pt x="2823970" y="3173389"/>
                  <a:pt x="2817831" y="3167473"/>
                </a:cubicBezTo>
                <a:cubicBezTo>
                  <a:pt x="2811692" y="3161557"/>
                  <a:pt x="2804716" y="3158599"/>
                  <a:pt x="2796902" y="3158599"/>
                </a:cubicBezTo>
                <a:cubicBezTo>
                  <a:pt x="2788196" y="3158599"/>
                  <a:pt x="2780048" y="3164571"/>
                  <a:pt x="2772457" y="3176514"/>
                </a:cubicBezTo>
                <a:cubicBezTo>
                  <a:pt x="2764867" y="3188458"/>
                  <a:pt x="2747901" y="3198113"/>
                  <a:pt x="2721558" y="3205480"/>
                </a:cubicBezTo>
                <a:cubicBezTo>
                  <a:pt x="2700797" y="3211284"/>
                  <a:pt x="2682714" y="3214187"/>
                  <a:pt x="2667310" y="3214187"/>
                </a:cubicBezTo>
                <a:cubicBezTo>
                  <a:pt x="2642530" y="3214187"/>
                  <a:pt x="2620820" y="3209498"/>
                  <a:pt x="2602179" y="3200122"/>
                </a:cubicBezTo>
                <a:cubicBezTo>
                  <a:pt x="2583539" y="3190746"/>
                  <a:pt x="2567968" y="3176794"/>
                  <a:pt x="2555466" y="3158264"/>
                </a:cubicBezTo>
                <a:lnTo>
                  <a:pt x="2683384" y="3097654"/>
                </a:lnTo>
                <a:cubicBezTo>
                  <a:pt x="2719549" y="3080688"/>
                  <a:pt x="2743213" y="3068186"/>
                  <a:pt x="2754375" y="3060149"/>
                </a:cubicBezTo>
                <a:cubicBezTo>
                  <a:pt x="2779601" y="3041844"/>
                  <a:pt x="2792214" y="3021529"/>
                  <a:pt x="2792214" y="2999204"/>
                </a:cubicBezTo>
                <a:cubicBezTo>
                  <a:pt x="2792214" y="2967281"/>
                  <a:pt x="2777815" y="2943617"/>
                  <a:pt x="2749017" y="2928213"/>
                </a:cubicBezTo>
                <a:cubicBezTo>
                  <a:pt x="2725576" y="2915712"/>
                  <a:pt x="2695327" y="2909461"/>
                  <a:pt x="2658269" y="2909461"/>
                </a:cubicBezTo>
                <a:close/>
                <a:moveTo>
                  <a:pt x="885391" y="2902429"/>
                </a:moveTo>
                <a:cubicBezTo>
                  <a:pt x="867309" y="2902429"/>
                  <a:pt x="856705" y="2912140"/>
                  <a:pt x="853579" y="2931562"/>
                </a:cubicBezTo>
                <a:cubicBezTo>
                  <a:pt x="846882" y="2970629"/>
                  <a:pt x="843534" y="3005455"/>
                  <a:pt x="843534" y="3036039"/>
                </a:cubicBezTo>
                <a:cubicBezTo>
                  <a:pt x="843534" y="3082250"/>
                  <a:pt x="847887" y="3134936"/>
                  <a:pt x="856593" y="3194095"/>
                </a:cubicBezTo>
                <a:cubicBezTo>
                  <a:pt x="860612" y="3221554"/>
                  <a:pt x="873225" y="3242427"/>
                  <a:pt x="894433" y="3256714"/>
                </a:cubicBezTo>
                <a:cubicBezTo>
                  <a:pt x="913632" y="3269662"/>
                  <a:pt x="937853" y="3276136"/>
                  <a:pt x="967098" y="3276136"/>
                </a:cubicBezTo>
                <a:cubicBezTo>
                  <a:pt x="1003486" y="3276136"/>
                  <a:pt x="1035633" y="3268881"/>
                  <a:pt x="1063539" y="3254370"/>
                </a:cubicBezTo>
                <a:cubicBezTo>
                  <a:pt x="1068227" y="3275578"/>
                  <a:pt x="1079165" y="3286182"/>
                  <a:pt x="1096355" y="3286182"/>
                </a:cubicBezTo>
                <a:cubicBezTo>
                  <a:pt x="1105731" y="3286182"/>
                  <a:pt x="1113656" y="3283113"/>
                  <a:pt x="1120130" y="3276973"/>
                </a:cubicBezTo>
                <a:cubicBezTo>
                  <a:pt x="1126605" y="3270834"/>
                  <a:pt x="1129841" y="3262965"/>
                  <a:pt x="1129841" y="3253366"/>
                </a:cubicBezTo>
                <a:cubicBezTo>
                  <a:pt x="1129841" y="3248454"/>
                  <a:pt x="1129451" y="3240976"/>
                  <a:pt x="1128670" y="3230930"/>
                </a:cubicBezTo>
                <a:cubicBezTo>
                  <a:pt x="1127888" y="3220884"/>
                  <a:pt x="1127498" y="3213405"/>
                  <a:pt x="1127498" y="3208494"/>
                </a:cubicBezTo>
                <a:cubicBezTo>
                  <a:pt x="1127498" y="3192420"/>
                  <a:pt x="1127386" y="3168310"/>
                  <a:pt x="1127163" y="3136163"/>
                </a:cubicBezTo>
                <a:cubicBezTo>
                  <a:pt x="1126939" y="3104017"/>
                  <a:pt x="1126828" y="3079906"/>
                  <a:pt x="1126828" y="3063833"/>
                </a:cubicBezTo>
                <a:lnTo>
                  <a:pt x="1132855" y="2937255"/>
                </a:lnTo>
                <a:cubicBezTo>
                  <a:pt x="1133302" y="2927878"/>
                  <a:pt x="1130288" y="2920065"/>
                  <a:pt x="1123814" y="2913814"/>
                </a:cubicBezTo>
                <a:cubicBezTo>
                  <a:pt x="1117340" y="2907563"/>
                  <a:pt x="1109303" y="2904438"/>
                  <a:pt x="1099704" y="2904438"/>
                </a:cubicBezTo>
                <a:cubicBezTo>
                  <a:pt x="1080505" y="2904438"/>
                  <a:pt x="1069678" y="2914707"/>
                  <a:pt x="1067222" y="2935245"/>
                </a:cubicBezTo>
                <a:cubicBezTo>
                  <a:pt x="1062980" y="2970741"/>
                  <a:pt x="1060860" y="3012599"/>
                  <a:pt x="1060860" y="3060819"/>
                </a:cubicBezTo>
                <a:lnTo>
                  <a:pt x="1061530" y="3125783"/>
                </a:lnTo>
                <a:lnTo>
                  <a:pt x="1061864" y="3193760"/>
                </a:lnTo>
                <a:cubicBezTo>
                  <a:pt x="1028601" y="3203359"/>
                  <a:pt x="997012" y="3208159"/>
                  <a:pt x="967098" y="3208159"/>
                </a:cubicBezTo>
                <a:cubicBezTo>
                  <a:pt x="960177" y="3208159"/>
                  <a:pt x="953145" y="3207099"/>
                  <a:pt x="946002" y="3204978"/>
                </a:cubicBezTo>
                <a:cubicBezTo>
                  <a:pt x="938858" y="3202857"/>
                  <a:pt x="931603" y="3199787"/>
                  <a:pt x="924235" y="3195769"/>
                </a:cubicBezTo>
                <a:cubicBezTo>
                  <a:pt x="919324" y="3179696"/>
                  <a:pt x="915641" y="3158376"/>
                  <a:pt x="913185" y="3131810"/>
                </a:cubicBezTo>
                <a:cubicBezTo>
                  <a:pt x="910729" y="3105244"/>
                  <a:pt x="909501" y="3073321"/>
                  <a:pt x="909501" y="3036039"/>
                </a:cubicBezTo>
                <a:cubicBezTo>
                  <a:pt x="909501" y="3024207"/>
                  <a:pt x="911120" y="3007018"/>
                  <a:pt x="914357" y="2984470"/>
                </a:cubicBezTo>
                <a:cubicBezTo>
                  <a:pt x="917594" y="2961923"/>
                  <a:pt x="919213" y="2945515"/>
                  <a:pt x="919213" y="2935245"/>
                </a:cubicBezTo>
                <a:cubicBezTo>
                  <a:pt x="919213" y="2925646"/>
                  <a:pt x="915976" y="2917777"/>
                  <a:pt x="909501" y="2911638"/>
                </a:cubicBezTo>
                <a:cubicBezTo>
                  <a:pt x="903027" y="2905498"/>
                  <a:pt x="894991" y="2902429"/>
                  <a:pt x="885391" y="2902429"/>
                </a:cubicBezTo>
                <a:close/>
                <a:moveTo>
                  <a:pt x="3965650" y="2893722"/>
                </a:moveTo>
                <a:cubicBezTo>
                  <a:pt x="3956273" y="2893722"/>
                  <a:pt x="3948404" y="2896792"/>
                  <a:pt x="3942042" y="2902931"/>
                </a:cubicBezTo>
                <a:cubicBezTo>
                  <a:pt x="3935679" y="2909070"/>
                  <a:pt x="3932498" y="2916940"/>
                  <a:pt x="3932498" y="2926539"/>
                </a:cubicBezTo>
                <a:cubicBezTo>
                  <a:pt x="3932498" y="2933683"/>
                  <a:pt x="3932889" y="2944287"/>
                  <a:pt x="3933670" y="2958351"/>
                </a:cubicBezTo>
                <a:cubicBezTo>
                  <a:pt x="3934452" y="2972415"/>
                  <a:pt x="3934842" y="2983019"/>
                  <a:pt x="3934842" y="2990163"/>
                </a:cubicBezTo>
                <a:cubicBezTo>
                  <a:pt x="3934842" y="3013157"/>
                  <a:pt x="3933224" y="3045025"/>
                  <a:pt x="3929987" y="3085767"/>
                </a:cubicBezTo>
                <a:cubicBezTo>
                  <a:pt x="3926750" y="3126508"/>
                  <a:pt x="3925131" y="3158376"/>
                  <a:pt x="3925131" y="3181370"/>
                </a:cubicBezTo>
                <a:cubicBezTo>
                  <a:pt x="3925131" y="3188067"/>
                  <a:pt x="3925857" y="3198113"/>
                  <a:pt x="3927308" y="3211508"/>
                </a:cubicBezTo>
                <a:cubicBezTo>
                  <a:pt x="3928759" y="3224902"/>
                  <a:pt x="3929484" y="3234948"/>
                  <a:pt x="3929484" y="3241645"/>
                </a:cubicBezTo>
                <a:cubicBezTo>
                  <a:pt x="3929484" y="3251691"/>
                  <a:pt x="3932498" y="3259840"/>
                  <a:pt x="3938526" y="3266090"/>
                </a:cubicBezTo>
                <a:cubicBezTo>
                  <a:pt x="3944553" y="3272341"/>
                  <a:pt x="3952478" y="3275467"/>
                  <a:pt x="3962301" y="3275467"/>
                </a:cubicBezTo>
                <a:cubicBezTo>
                  <a:pt x="3971900" y="3275467"/>
                  <a:pt x="3979770" y="3272341"/>
                  <a:pt x="3985909" y="3266090"/>
                </a:cubicBezTo>
                <a:cubicBezTo>
                  <a:pt x="3992048" y="3259840"/>
                  <a:pt x="3995118" y="3251691"/>
                  <a:pt x="3995118" y="3241645"/>
                </a:cubicBezTo>
                <a:cubicBezTo>
                  <a:pt x="3995118" y="3234948"/>
                  <a:pt x="3994448" y="3224902"/>
                  <a:pt x="3993108" y="3211508"/>
                </a:cubicBezTo>
                <a:cubicBezTo>
                  <a:pt x="3991769" y="3198113"/>
                  <a:pt x="3991099" y="3188067"/>
                  <a:pt x="3991099" y="3181370"/>
                </a:cubicBezTo>
                <a:cubicBezTo>
                  <a:pt x="3991099" y="3170878"/>
                  <a:pt x="3991769" y="3160050"/>
                  <a:pt x="3993108" y="3148888"/>
                </a:cubicBezTo>
                <a:cubicBezTo>
                  <a:pt x="3994671" y="3135717"/>
                  <a:pt x="3995676" y="3124778"/>
                  <a:pt x="3996122" y="3116072"/>
                </a:cubicBezTo>
                <a:cubicBezTo>
                  <a:pt x="4007731" y="3074772"/>
                  <a:pt x="4023804" y="3040616"/>
                  <a:pt x="4044343" y="3013603"/>
                </a:cubicBezTo>
                <a:cubicBezTo>
                  <a:pt x="4067113" y="2983912"/>
                  <a:pt x="4091000" y="2969067"/>
                  <a:pt x="4116003" y="2969067"/>
                </a:cubicBezTo>
                <a:cubicBezTo>
                  <a:pt x="4133863" y="2969067"/>
                  <a:pt x="4142792" y="2993177"/>
                  <a:pt x="4142792" y="3041397"/>
                </a:cubicBezTo>
                <a:cubicBezTo>
                  <a:pt x="4142792" y="3047648"/>
                  <a:pt x="4142402" y="3058252"/>
                  <a:pt x="4141620" y="3073209"/>
                </a:cubicBezTo>
                <a:cubicBezTo>
                  <a:pt x="4140839" y="3088166"/>
                  <a:pt x="4140448" y="3098770"/>
                  <a:pt x="4140448" y="3105021"/>
                </a:cubicBezTo>
                <a:cubicBezTo>
                  <a:pt x="4140448" y="3127792"/>
                  <a:pt x="4142011" y="3152237"/>
                  <a:pt x="4145136" y="3178356"/>
                </a:cubicBezTo>
                <a:lnTo>
                  <a:pt x="4154513" y="3251691"/>
                </a:lnTo>
                <a:cubicBezTo>
                  <a:pt x="4156968" y="3272676"/>
                  <a:pt x="4167795" y="3283168"/>
                  <a:pt x="4186994" y="3283168"/>
                </a:cubicBezTo>
                <a:cubicBezTo>
                  <a:pt x="4196594" y="3283168"/>
                  <a:pt x="4204575" y="3280099"/>
                  <a:pt x="4210937" y="3273960"/>
                </a:cubicBezTo>
                <a:cubicBezTo>
                  <a:pt x="4217299" y="3267821"/>
                  <a:pt x="4220481" y="3259840"/>
                  <a:pt x="4220481" y="3250017"/>
                </a:cubicBezTo>
                <a:cubicBezTo>
                  <a:pt x="4220481" y="3231711"/>
                  <a:pt x="4218081" y="3207880"/>
                  <a:pt x="4213281" y="3178524"/>
                </a:cubicBezTo>
                <a:cubicBezTo>
                  <a:pt x="4208481" y="3149167"/>
                  <a:pt x="4206081" y="3125225"/>
                  <a:pt x="4206081" y="3106695"/>
                </a:cubicBezTo>
                <a:lnTo>
                  <a:pt x="4206416" y="3075553"/>
                </a:lnTo>
                <a:lnTo>
                  <a:pt x="4206416" y="3041732"/>
                </a:lnTo>
                <a:cubicBezTo>
                  <a:pt x="4205523" y="3000655"/>
                  <a:pt x="4200277" y="2969625"/>
                  <a:pt x="4190678" y="2948640"/>
                </a:cubicBezTo>
                <a:cubicBezTo>
                  <a:pt x="4176613" y="2917163"/>
                  <a:pt x="4151722" y="2901424"/>
                  <a:pt x="4116003" y="2901424"/>
                </a:cubicBezTo>
                <a:cubicBezTo>
                  <a:pt x="4076489" y="2901424"/>
                  <a:pt x="4037980" y="2926427"/>
                  <a:pt x="4000475" y="2976434"/>
                </a:cubicBezTo>
                <a:lnTo>
                  <a:pt x="3999471" y="2937255"/>
                </a:lnTo>
                <a:cubicBezTo>
                  <a:pt x="3997462" y="2908233"/>
                  <a:pt x="3986188" y="2893722"/>
                  <a:pt x="3965650" y="2893722"/>
                </a:cubicBezTo>
                <a:close/>
                <a:moveTo>
                  <a:pt x="3452490" y="2876979"/>
                </a:moveTo>
                <a:cubicBezTo>
                  <a:pt x="3441775" y="2876979"/>
                  <a:pt x="3431840" y="2878988"/>
                  <a:pt x="3422687" y="2883007"/>
                </a:cubicBezTo>
                <a:cubicBezTo>
                  <a:pt x="3409963" y="2888811"/>
                  <a:pt x="3388866" y="2895899"/>
                  <a:pt x="3359398" y="2904271"/>
                </a:cubicBezTo>
                <a:cubicBezTo>
                  <a:pt x="3329930" y="2912642"/>
                  <a:pt x="3308499" y="2919842"/>
                  <a:pt x="3295105" y="2925869"/>
                </a:cubicBezTo>
                <a:cubicBezTo>
                  <a:pt x="3251126" y="2945738"/>
                  <a:pt x="3229136" y="2979001"/>
                  <a:pt x="3229136" y="3025659"/>
                </a:cubicBezTo>
                <a:cubicBezTo>
                  <a:pt x="3229136" y="3050885"/>
                  <a:pt x="3238178" y="3069749"/>
                  <a:pt x="3256260" y="3082250"/>
                </a:cubicBezTo>
                <a:cubicBezTo>
                  <a:pt x="3268762" y="3090957"/>
                  <a:pt x="3289858" y="3098547"/>
                  <a:pt x="3319550" y="3105021"/>
                </a:cubicBezTo>
                <a:lnTo>
                  <a:pt x="3354375" y="3112723"/>
                </a:lnTo>
                <a:cubicBezTo>
                  <a:pt x="3396791" y="3123439"/>
                  <a:pt x="3417999" y="3143977"/>
                  <a:pt x="3417999" y="3174338"/>
                </a:cubicBezTo>
                <a:cubicBezTo>
                  <a:pt x="3417999" y="3188402"/>
                  <a:pt x="3407619" y="3198671"/>
                  <a:pt x="3386857" y="3205145"/>
                </a:cubicBezTo>
                <a:cubicBezTo>
                  <a:pt x="3372570" y="3209610"/>
                  <a:pt x="3356050" y="3211843"/>
                  <a:pt x="3337297" y="3211843"/>
                </a:cubicBezTo>
                <a:cubicBezTo>
                  <a:pt x="3327028" y="3211843"/>
                  <a:pt x="3314415" y="3210503"/>
                  <a:pt x="3299458" y="3207824"/>
                </a:cubicBezTo>
                <a:cubicBezTo>
                  <a:pt x="3280705" y="3204476"/>
                  <a:pt x="3268650" y="3200234"/>
                  <a:pt x="3263293" y="3195099"/>
                </a:cubicBezTo>
                <a:cubicBezTo>
                  <a:pt x="3252354" y="3184384"/>
                  <a:pt x="3243424" y="3179026"/>
                  <a:pt x="3236503" y="3179026"/>
                </a:cubicBezTo>
                <a:cubicBezTo>
                  <a:pt x="3227574" y="3179026"/>
                  <a:pt x="3219593" y="3182375"/>
                  <a:pt x="3212561" y="3189072"/>
                </a:cubicBezTo>
                <a:cubicBezTo>
                  <a:pt x="3205529" y="3195769"/>
                  <a:pt x="3202013" y="3203583"/>
                  <a:pt x="3202013" y="3212512"/>
                </a:cubicBezTo>
                <a:cubicBezTo>
                  <a:pt x="3202013" y="3234836"/>
                  <a:pt x="3219202" y="3252249"/>
                  <a:pt x="3253581" y="3264751"/>
                </a:cubicBezTo>
                <a:cubicBezTo>
                  <a:pt x="3280147" y="3274574"/>
                  <a:pt x="3308053" y="3279485"/>
                  <a:pt x="3337297" y="3279485"/>
                </a:cubicBezTo>
                <a:cubicBezTo>
                  <a:pt x="3377258" y="3279485"/>
                  <a:pt x="3410297" y="3271895"/>
                  <a:pt x="3436417" y="3256714"/>
                </a:cubicBezTo>
                <a:cubicBezTo>
                  <a:pt x="3467894" y="3238185"/>
                  <a:pt x="3483633" y="3210726"/>
                  <a:pt x="3483633" y="3174338"/>
                </a:cubicBezTo>
                <a:cubicBezTo>
                  <a:pt x="3483633" y="3129913"/>
                  <a:pt x="3465439" y="3095980"/>
                  <a:pt x="3429050" y="3072539"/>
                </a:cubicBezTo>
                <a:cubicBezTo>
                  <a:pt x="3404047" y="3056466"/>
                  <a:pt x="3365872" y="3043853"/>
                  <a:pt x="3314527" y="3034700"/>
                </a:cubicBezTo>
                <a:cubicBezTo>
                  <a:pt x="3308053" y="3033584"/>
                  <a:pt x="3301467" y="3031798"/>
                  <a:pt x="3294770" y="3029342"/>
                </a:cubicBezTo>
                <a:cubicBezTo>
                  <a:pt x="3294993" y="3008357"/>
                  <a:pt x="3313076" y="2990721"/>
                  <a:pt x="3349018" y="2976434"/>
                </a:cubicBezTo>
                <a:cubicBezTo>
                  <a:pt x="3383843" y="2965048"/>
                  <a:pt x="3409628" y="2957235"/>
                  <a:pt x="3426371" y="2952993"/>
                </a:cubicBezTo>
                <a:cubicBezTo>
                  <a:pt x="3428827" y="2971299"/>
                  <a:pt x="3431729" y="2983354"/>
                  <a:pt x="3435077" y="2989158"/>
                </a:cubicBezTo>
                <a:cubicBezTo>
                  <a:pt x="3439989" y="2997418"/>
                  <a:pt x="3448584" y="3001548"/>
                  <a:pt x="3460862" y="3001548"/>
                </a:cubicBezTo>
                <a:cubicBezTo>
                  <a:pt x="3470461" y="3001548"/>
                  <a:pt x="3478331" y="2998423"/>
                  <a:pt x="3484470" y="2992172"/>
                </a:cubicBezTo>
                <a:cubicBezTo>
                  <a:pt x="3490609" y="2985921"/>
                  <a:pt x="3493678" y="2977773"/>
                  <a:pt x="3493678" y="2967727"/>
                </a:cubicBezTo>
                <a:cubicBezTo>
                  <a:pt x="3493678" y="2961253"/>
                  <a:pt x="3492283" y="2951765"/>
                  <a:pt x="3489493" y="2939264"/>
                </a:cubicBezTo>
                <a:cubicBezTo>
                  <a:pt x="3486702" y="2926762"/>
                  <a:pt x="3485307" y="2917274"/>
                  <a:pt x="3485307" y="2910800"/>
                </a:cubicBezTo>
                <a:cubicBezTo>
                  <a:pt x="3485307" y="2900755"/>
                  <a:pt x="3482237" y="2892606"/>
                  <a:pt x="3476098" y="2886355"/>
                </a:cubicBezTo>
                <a:cubicBezTo>
                  <a:pt x="3469959" y="2880105"/>
                  <a:pt x="3462090" y="2876979"/>
                  <a:pt x="3452490" y="2876979"/>
                </a:cubicBezTo>
                <a:close/>
                <a:moveTo>
                  <a:pt x="2395215" y="2876979"/>
                </a:moveTo>
                <a:cubicBezTo>
                  <a:pt x="2384500" y="2876979"/>
                  <a:pt x="2374565" y="2878988"/>
                  <a:pt x="2365413" y="2883007"/>
                </a:cubicBezTo>
                <a:cubicBezTo>
                  <a:pt x="2352688" y="2888811"/>
                  <a:pt x="2331591" y="2895899"/>
                  <a:pt x="2302123" y="2904271"/>
                </a:cubicBezTo>
                <a:cubicBezTo>
                  <a:pt x="2272655" y="2912642"/>
                  <a:pt x="2251224" y="2919842"/>
                  <a:pt x="2237830" y="2925869"/>
                </a:cubicBezTo>
                <a:cubicBezTo>
                  <a:pt x="2193851" y="2945738"/>
                  <a:pt x="2171862" y="2979001"/>
                  <a:pt x="2171862" y="3025659"/>
                </a:cubicBezTo>
                <a:cubicBezTo>
                  <a:pt x="2171862" y="3050885"/>
                  <a:pt x="2180903" y="3069749"/>
                  <a:pt x="2198986" y="3082250"/>
                </a:cubicBezTo>
                <a:cubicBezTo>
                  <a:pt x="2211487" y="3090957"/>
                  <a:pt x="2232583" y="3098547"/>
                  <a:pt x="2262275" y="3105021"/>
                </a:cubicBezTo>
                <a:lnTo>
                  <a:pt x="2297100" y="3112723"/>
                </a:lnTo>
                <a:cubicBezTo>
                  <a:pt x="2339516" y="3123439"/>
                  <a:pt x="2360724" y="3143977"/>
                  <a:pt x="2360724" y="3174338"/>
                </a:cubicBezTo>
                <a:cubicBezTo>
                  <a:pt x="2360724" y="3188402"/>
                  <a:pt x="2350344" y="3198671"/>
                  <a:pt x="2329582" y="3205145"/>
                </a:cubicBezTo>
                <a:cubicBezTo>
                  <a:pt x="2315295" y="3209610"/>
                  <a:pt x="2298775" y="3211843"/>
                  <a:pt x="2280022" y="3211843"/>
                </a:cubicBezTo>
                <a:cubicBezTo>
                  <a:pt x="2269753" y="3211843"/>
                  <a:pt x="2257140" y="3210503"/>
                  <a:pt x="2242183" y="3207824"/>
                </a:cubicBezTo>
                <a:cubicBezTo>
                  <a:pt x="2223431" y="3204476"/>
                  <a:pt x="2211376" y="3200234"/>
                  <a:pt x="2206018" y="3195099"/>
                </a:cubicBezTo>
                <a:cubicBezTo>
                  <a:pt x="2195079" y="3184384"/>
                  <a:pt x="2186149" y="3179026"/>
                  <a:pt x="2179228" y="3179026"/>
                </a:cubicBezTo>
                <a:cubicBezTo>
                  <a:pt x="2170299" y="3179026"/>
                  <a:pt x="2162318" y="3182375"/>
                  <a:pt x="2155286" y="3189072"/>
                </a:cubicBezTo>
                <a:cubicBezTo>
                  <a:pt x="2148254" y="3195769"/>
                  <a:pt x="2144738" y="3203583"/>
                  <a:pt x="2144738" y="3212512"/>
                </a:cubicBezTo>
                <a:cubicBezTo>
                  <a:pt x="2144738" y="3234836"/>
                  <a:pt x="2161927" y="3252249"/>
                  <a:pt x="2196307" y="3264751"/>
                </a:cubicBezTo>
                <a:cubicBezTo>
                  <a:pt x="2222872" y="3274574"/>
                  <a:pt x="2250778" y="3279485"/>
                  <a:pt x="2280022" y="3279485"/>
                </a:cubicBezTo>
                <a:cubicBezTo>
                  <a:pt x="2319983" y="3279485"/>
                  <a:pt x="2353023" y="3271895"/>
                  <a:pt x="2379142" y="3256714"/>
                </a:cubicBezTo>
                <a:cubicBezTo>
                  <a:pt x="2410619" y="3238185"/>
                  <a:pt x="2426358" y="3210726"/>
                  <a:pt x="2426358" y="3174338"/>
                </a:cubicBezTo>
                <a:cubicBezTo>
                  <a:pt x="2426358" y="3129913"/>
                  <a:pt x="2408163" y="3095980"/>
                  <a:pt x="2371775" y="3072539"/>
                </a:cubicBezTo>
                <a:cubicBezTo>
                  <a:pt x="2346772" y="3056466"/>
                  <a:pt x="2308597" y="3043853"/>
                  <a:pt x="2257252" y="3034700"/>
                </a:cubicBezTo>
                <a:cubicBezTo>
                  <a:pt x="2250778" y="3033584"/>
                  <a:pt x="2244192" y="3031798"/>
                  <a:pt x="2237495" y="3029342"/>
                </a:cubicBezTo>
                <a:cubicBezTo>
                  <a:pt x="2237718" y="3008357"/>
                  <a:pt x="2255801" y="2990721"/>
                  <a:pt x="2291743" y="2976434"/>
                </a:cubicBezTo>
                <a:cubicBezTo>
                  <a:pt x="2326568" y="2965048"/>
                  <a:pt x="2352353" y="2957235"/>
                  <a:pt x="2369096" y="2952993"/>
                </a:cubicBezTo>
                <a:cubicBezTo>
                  <a:pt x="2371552" y="2971299"/>
                  <a:pt x="2374454" y="2983354"/>
                  <a:pt x="2377802" y="2989158"/>
                </a:cubicBezTo>
                <a:cubicBezTo>
                  <a:pt x="2382714" y="2997418"/>
                  <a:pt x="2391309" y="3001548"/>
                  <a:pt x="2403587" y="3001548"/>
                </a:cubicBezTo>
                <a:cubicBezTo>
                  <a:pt x="2413186" y="3001548"/>
                  <a:pt x="2421056" y="2998423"/>
                  <a:pt x="2427195" y="2992172"/>
                </a:cubicBezTo>
                <a:cubicBezTo>
                  <a:pt x="2433334" y="2985921"/>
                  <a:pt x="2436403" y="2977773"/>
                  <a:pt x="2436403" y="2967727"/>
                </a:cubicBezTo>
                <a:cubicBezTo>
                  <a:pt x="2436403" y="2961253"/>
                  <a:pt x="2435008" y="2951765"/>
                  <a:pt x="2432218" y="2939264"/>
                </a:cubicBezTo>
                <a:cubicBezTo>
                  <a:pt x="2429427" y="2926762"/>
                  <a:pt x="2428032" y="2917274"/>
                  <a:pt x="2428032" y="2910800"/>
                </a:cubicBezTo>
                <a:cubicBezTo>
                  <a:pt x="2428032" y="2900755"/>
                  <a:pt x="2424962" y="2892606"/>
                  <a:pt x="2418823" y="2886355"/>
                </a:cubicBezTo>
                <a:cubicBezTo>
                  <a:pt x="2412684" y="2880105"/>
                  <a:pt x="2404815" y="2876979"/>
                  <a:pt x="2395215" y="2876979"/>
                </a:cubicBezTo>
                <a:close/>
                <a:moveTo>
                  <a:pt x="275940" y="2791589"/>
                </a:moveTo>
                <a:cubicBezTo>
                  <a:pt x="266564" y="2791589"/>
                  <a:pt x="258639" y="2794659"/>
                  <a:pt x="252165" y="2800798"/>
                </a:cubicBezTo>
                <a:cubicBezTo>
                  <a:pt x="245691" y="2806937"/>
                  <a:pt x="242454" y="2814695"/>
                  <a:pt x="242454" y="2824071"/>
                </a:cubicBezTo>
                <a:cubicBezTo>
                  <a:pt x="242454" y="2832554"/>
                  <a:pt x="242956" y="2846339"/>
                  <a:pt x="243961" y="2865426"/>
                </a:cubicBezTo>
                <a:cubicBezTo>
                  <a:pt x="244965" y="2884514"/>
                  <a:pt x="245468" y="2899750"/>
                  <a:pt x="245468" y="2911135"/>
                </a:cubicBezTo>
                <a:lnTo>
                  <a:pt x="175146" y="2905443"/>
                </a:lnTo>
                <a:cubicBezTo>
                  <a:pt x="165770" y="2905443"/>
                  <a:pt x="158068" y="2908680"/>
                  <a:pt x="152041" y="2915154"/>
                </a:cubicBezTo>
                <a:cubicBezTo>
                  <a:pt x="146013" y="2921628"/>
                  <a:pt x="142999" y="2929776"/>
                  <a:pt x="142999" y="2939599"/>
                </a:cubicBezTo>
                <a:cubicBezTo>
                  <a:pt x="142999" y="2959021"/>
                  <a:pt x="152934" y="2970071"/>
                  <a:pt x="172802" y="2972750"/>
                </a:cubicBezTo>
                <a:cubicBezTo>
                  <a:pt x="206065" y="2975876"/>
                  <a:pt x="230845" y="2977773"/>
                  <a:pt x="247142" y="2978443"/>
                </a:cubicBezTo>
                <a:lnTo>
                  <a:pt x="253839" y="3174003"/>
                </a:lnTo>
                <a:cubicBezTo>
                  <a:pt x="253839" y="3182486"/>
                  <a:pt x="253504" y="3195211"/>
                  <a:pt x="252835" y="3212177"/>
                </a:cubicBezTo>
                <a:cubicBezTo>
                  <a:pt x="252165" y="3229144"/>
                  <a:pt x="251830" y="3241869"/>
                  <a:pt x="251830" y="3250352"/>
                </a:cubicBezTo>
                <a:cubicBezTo>
                  <a:pt x="251830" y="3259058"/>
                  <a:pt x="255123" y="3266314"/>
                  <a:pt x="261708" y="3272118"/>
                </a:cubicBezTo>
                <a:cubicBezTo>
                  <a:pt x="268294" y="3277922"/>
                  <a:pt x="276052" y="3280824"/>
                  <a:pt x="284981" y="3280824"/>
                </a:cubicBezTo>
                <a:cubicBezTo>
                  <a:pt x="309315" y="3280824"/>
                  <a:pt x="321035" y="3256379"/>
                  <a:pt x="320142" y="3207489"/>
                </a:cubicBezTo>
                <a:lnTo>
                  <a:pt x="319807" y="3190411"/>
                </a:lnTo>
                <a:lnTo>
                  <a:pt x="319472" y="3175677"/>
                </a:lnTo>
                <a:lnTo>
                  <a:pt x="313110" y="2977773"/>
                </a:lnTo>
                <a:cubicBezTo>
                  <a:pt x="338336" y="2974424"/>
                  <a:pt x="353517" y="2972750"/>
                  <a:pt x="358651" y="2972750"/>
                </a:cubicBezTo>
                <a:cubicBezTo>
                  <a:pt x="363339" y="2972750"/>
                  <a:pt x="368865" y="2972973"/>
                  <a:pt x="375227" y="2973420"/>
                </a:cubicBezTo>
                <a:cubicBezTo>
                  <a:pt x="381590" y="2973866"/>
                  <a:pt x="387115" y="2974090"/>
                  <a:pt x="391803" y="2974090"/>
                </a:cubicBezTo>
                <a:cubicBezTo>
                  <a:pt x="401402" y="2974090"/>
                  <a:pt x="409272" y="2970908"/>
                  <a:pt x="415411" y="2964546"/>
                </a:cubicBezTo>
                <a:cubicBezTo>
                  <a:pt x="421550" y="2958184"/>
                  <a:pt x="424619" y="2950091"/>
                  <a:pt x="424619" y="2940268"/>
                </a:cubicBezTo>
                <a:cubicBezTo>
                  <a:pt x="424619" y="2923748"/>
                  <a:pt x="417810" y="2913256"/>
                  <a:pt x="404193" y="2908791"/>
                </a:cubicBezTo>
                <a:cubicBezTo>
                  <a:pt x="397049" y="2906559"/>
                  <a:pt x="381869" y="2905443"/>
                  <a:pt x="358651" y="2905443"/>
                </a:cubicBezTo>
                <a:cubicBezTo>
                  <a:pt x="354633" y="2905443"/>
                  <a:pt x="338783" y="2907229"/>
                  <a:pt x="311101" y="2910800"/>
                </a:cubicBezTo>
                <a:lnTo>
                  <a:pt x="311436" y="2890039"/>
                </a:lnTo>
                <a:lnTo>
                  <a:pt x="312105" y="2870617"/>
                </a:lnTo>
                <a:cubicBezTo>
                  <a:pt x="312105" y="2859008"/>
                  <a:pt x="311770" y="2849074"/>
                  <a:pt x="311101" y="2840814"/>
                </a:cubicBezTo>
                <a:cubicBezTo>
                  <a:pt x="307752" y="2807997"/>
                  <a:pt x="296032" y="2791589"/>
                  <a:pt x="275940" y="2791589"/>
                </a:cubicBezTo>
                <a:close/>
                <a:moveTo>
                  <a:pt x="1608138" y="2722942"/>
                </a:moveTo>
                <a:cubicBezTo>
                  <a:pt x="1598762" y="2722942"/>
                  <a:pt x="1590837" y="2726012"/>
                  <a:pt x="1584363" y="2732151"/>
                </a:cubicBezTo>
                <a:cubicBezTo>
                  <a:pt x="1577889" y="2738290"/>
                  <a:pt x="1574652" y="2746048"/>
                  <a:pt x="1574652" y="2755424"/>
                </a:cubicBezTo>
                <a:cubicBezTo>
                  <a:pt x="1574652" y="2766363"/>
                  <a:pt x="1575712" y="2776911"/>
                  <a:pt x="1577833" y="2787068"/>
                </a:cubicBezTo>
                <a:cubicBezTo>
                  <a:pt x="1579954" y="2797226"/>
                  <a:pt x="1581014" y="2807997"/>
                  <a:pt x="1581014" y="2819383"/>
                </a:cubicBezTo>
                <a:cubicBezTo>
                  <a:pt x="1581014" y="2828982"/>
                  <a:pt x="1580233" y="2847623"/>
                  <a:pt x="1578670" y="2875305"/>
                </a:cubicBezTo>
                <a:lnTo>
                  <a:pt x="1577665" y="3121429"/>
                </a:lnTo>
                <a:lnTo>
                  <a:pt x="1576661" y="3170989"/>
                </a:lnTo>
                <a:cubicBezTo>
                  <a:pt x="1575991" y="3198002"/>
                  <a:pt x="1574763" y="3214298"/>
                  <a:pt x="1572977" y="3219879"/>
                </a:cubicBezTo>
                <a:cubicBezTo>
                  <a:pt x="1570968" y="3226577"/>
                  <a:pt x="1569963" y="3231488"/>
                  <a:pt x="1569963" y="3234613"/>
                </a:cubicBezTo>
                <a:cubicBezTo>
                  <a:pt x="1569963" y="3243543"/>
                  <a:pt x="1573424" y="3251133"/>
                  <a:pt x="1580344" y="3257384"/>
                </a:cubicBezTo>
                <a:cubicBezTo>
                  <a:pt x="1587265" y="3263635"/>
                  <a:pt x="1595302" y="3266760"/>
                  <a:pt x="1604454" y="3266760"/>
                </a:cubicBezTo>
                <a:cubicBezTo>
                  <a:pt x="1617626" y="3266760"/>
                  <a:pt x="1627337" y="3259840"/>
                  <a:pt x="1633587" y="3245999"/>
                </a:cubicBezTo>
                <a:cubicBezTo>
                  <a:pt x="1640731" y="3230372"/>
                  <a:pt x="1644303" y="3180031"/>
                  <a:pt x="1644303" y="3094975"/>
                </a:cubicBezTo>
                <a:cubicBezTo>
                  <a:pt x="1664172" y="3057917"/>
                  <a:pt x="1679799" y="3032802"/>
                  <a:pt x="1691184" y="3019631"/>
                </a:cubicBezTo>
                <a:cubicBezTo>
                  <a:pt x="1713508" y="2993958"/>
                  <a:pt x="1738846" y="2981122"/>
                  <a:pt x="1767198" y="2981122"/>
                </a:cubicBezTo>
                <a:cubicBezTo>
                  <a:pt x="1788183" y="2981122"/>
                  <a:pt x="1798675" y="3002107"/>
                  <a:pt x="1798675" y="3044076"/>
                </a:cubicBezTo>
                <a:cubicBezTo>
                  <a:pt x="1798675" y="3049880"/>
                  <a:pt x="1798396" y="3058698"/>
                  <a:pt x="1797838" y="3070530"/>
                </a:cubicBezTo>
                <a:cubicBezTo>
                  <a:pt x="1797280" y="3082362"/>
                  <a:pt x="1797001" y="3091180"/>
                  <a:pt x="1797001" y="3096984"/>
                </a:cubicBezTo>
                <a:cubicBezTo>
                  <a:pt x="1797001" y="3117746"/>
                  <a:pt x="1799010" y="3144312"/>
                  <a:pt x="1803028" y="3176682"/>
                </a:cubicBezTo>
                <a:cubicBezTo>
                  <a:pt x="1807270" y="3210391"/>
                  <a:pt x="1811958" y="3236399"/>
                  <a:pt x="1817093" y="3254705"/>
                </a:cubicBezTo>
                <a:cubicBezTo>
                  <a:pt x="1822004" y="3271671"/>
                  <a:pt x="1832385" y="3280155"/>
                  <a:pt x="1848235" y="3280155"/>
                </a:cubicBezTo>
                <a:cubicBezTo>
                  <a:pt x="1857611" y="3280155"/>
                  <a:pt x="1865648" y="3277085"/>
                  <a:pt x="1872345" y="3270946"/>
                </a:cubicBezTo>
                <a:cubicBezTo>
                  <a:pt x="1879042" y="3264807"/>
                  <a:pt x="1882391" y="3257161"/>
                  <a:pt x="1882391" y="3248008"/>
                </a:cubicBezTo>
                <a:cubicBezTo>
                  <a:pt x="1882391" y="3245329"/>
                  <a:pt x="1881944" y="3242092"/>
                  <a:pt x="1881051" y="3238297"/>
                </a:cubicBezTo>
                <a:cubicBezTo>
                  <a:pt x="1876587" y="3218428"/>
                  <a:pt x="1872791" y="3195434"/>
                  <a:pt x="1869666" y="3169315"/>
                </a:cubicBezTo>
                <a:lnTo>
                  <a:pt x="1862969" y="3099663"/>
                </a:lnTo>
                <a:lnTo>
                  <a:pt x="1860290" y="3035704"/>
                </a:lnTo>
                <a:cubicBezTo>
                  <a:pt x="1858951" y="2995521"/>
                  <a:pt x="1853369" y="2966946"/>
                  <a:pt x="1843547" y="2949979"/>
                </a:cubicBezTo>
                <a:cubicBezTo>
                  <a:pt x="1829706" y="2925869"/>
                  <a:pt x="1804256" y="2913814"/>
                  <a:pt x="1767198" y="2913814"/>
                </a:cubicBezTo>
                <a:cubicBezTo>
                  <a:pt x="1743758" y="2913814"/>
                  <a:pt x="1721601" y="2919898"/>
                  <a:pt x="1700728" y="2932064"/>
                </a:cubicBezTo>
                <a:cubicBezTo>
                  <a:pt x="1679854" y="2944231"/>
                  <a:pt x="1660265" y="2962593"/>
                  <a:pt x="1641959" y="2987149"/>
                </a:cubicBezTo>
                <a:lnTo>
                  <a:pt x="1641624" y="2957681"/>
                </a:lnTo>
                <a:cubicBezTo>
                  <a:pt x="1641401" y="2933125"/>
                  <a:pt x="1641959" y="2908680"/>
                  <a:pt x="1643298" y="2884346"/>
                </a:cubicBezTo>
                <a:cubicBezTo>
                  <a:pt x="1644861" y="2858897"/>
                  <a:pt x="1645643" y="2834452"/>
                  <a:pt x="1645643" y="2811011"/>
                </a:cubicBezTo>
                <a:cubicBezTo>
                  <a:pt x="1645643" y="2793598"/>
                  <a:pt x="1643857" y="2774065"/>
                  <a:pt x="1640285" y="2752410"/>
                </a:cubicBezTo>
                <a:cubicBezTo>
                  <a:pt x="1637159" y="2732765"/>
                  <a:pt x="1626444" y="2722942"/>
                  <a:pt x="1608138" y="2722942"/>
                </a:cubicBezTo>
                <a:close/>
                <a:moveTo>
                  <a:pt x="4650445" y="2721938"/>
                </a:moveTo>
                <a:cubicBezTo>
                  <a:pt x="4630577" y="2721938"/>
                  <a:pt x="4620642" y="2731872"/>
                  <a:pt x="4620642" y="2751740"/>
                </a:cubicBezTo>
                <a:cubicBezTo>
                  <a:pt x="4620642" y="2784111"/>
                  <a:pt x="4620363" y="2832610"/>
                  <a:pt x="4619805" y="2897238"/>
                </a:cubicBezTo>
                <a:cubicBezTo>
                  <a:pt x="4619247" y="2961867"/>
                  <a:pt x="4618968" y="3010366"/>
                  <a:pt x="4618968" y="3042737"/>
                </a:cubicBezTo>
                <a:cubicBezTo>
                  <a:pt x="4618968" y="3051666"/>
                  <a:pt x="4619247" y="3065228"/>
                  <a:pt x="4619805" y="3083422"/>
                </a:cubicBezTo>
                <a:cubicBezTo>
                  <a:pt x="4620363" y="3101617"/>
                  <a:pt x="4620642" y="3115290"/>
                  <a:pt x="4620642" y="3124443"/>
                </a:cubicBezTo>
                <a:cubicBezTo>
                  <a:pt x="4620642" y="3144312"/>
                  <a:pt x="4630577" y="3154246"/>
                  <a:pt x="4650445" y="3154246"/>
                </a:cubicBezTo>
                <a:cubicBezTo>
                  <a:pt x="4670314" y="3154246"/>
                  <a:pt x="4680248" y="3144312"/>
                  <a:pt x="4680248" y="3124443"/>
                </a:cubicBezTo>
                <a:lnTo>
                  <a:pt x="4680248" y="2751740"/>
                </a:lnTo>
                <a:cubicBezTo>
                  <a:pt x="4680248" y="2731872"/>
                  <a:pt x="4670314" y="2721938"/>
                  <a:pt x="4650445" y="2721938"/>
                </a:cubicBezTo>
                <a:close/>
                <a:moveTo>
                  <a:pt x="4488520" y="2721938"/>
                </a:moveTo>
                <a:cubicBezTo>
                  <a:pt x="4468652" y="2721938"/>
                  <a:pt x="4458717" y="2731872"/>
                  <a:pt x="4458717" y="2751740"/>
                </a:cubicBezTo>
                <a:cubicBezTo>
                  <a:pt x="4458717" y="2784111"/>
                  <a:pt x="4458438" y="2832610"/>
                  <a:pt x="4457880" y="2897238"/>
                </a:cubicBezTo>
                <a:cubicBezTo>
                  <a:pt x="4457322" y="2961867"/>
                  <a:pt x="4457043" y="3010366"/>
                  <a:pt x="4457043" y="3042737"/>
                </a:cubicBezTo>
                <a:cubicBezTo>
                  <a:pt x="4457043" y="3051666"/>
                  <a:pt x="4457322" y="3065228"/>
                  <a:pt x="4457880" y="3083422"/>
                </a:cubicBezTo>
                <a:cubicBezTo>
                  <a:pt x="4458438" y="3101617"/>
                  <a:pt x="4458717" y="3115290"/>
                  <a:pt x="4458717" y="3124443"/>
                </a:cubicBezTo>
                <a:cubicBezTo>
                  <a:pt x="4458717" y="3144312"/>
                  <a:pt x="4468652" y="3154246"/>
                  <a:pt x="4488520" y="3154246"/>
                </a:cubicBezTo>
                <a:cubicBezTo>
                  <a:pt x="4508389" y="3154246"/>
                  <a:pt x="4518323" y="3144312"/>
                  <a:pt x="4518323" y="3124443"/>
                </a:cubicBezTo>
                <a:lnTo>
                  <a:pt x="4518323" y="2751740"/>
                </a:lnTo>
                <a:cubicBezTo>
                  <a:pt x="4518323" y="2731872"/>
                  <a:pt x="4508389" y="2721938"/>
                  <a:pt x="4488520" y="2721938"/>
                </a:cubicBezTo>
                <a:close/>
                <a:moveTo>
                  <a:pt x="4326595" y="2721938"/>
                </a:moveTo>
                <a:cubicBezTo>
                  <a:pt x="4306726" y="2721938"/>
                  <a:pt x="4296792" y="2731872"/>
                  <a:pt x="4296792" y="2751740"/>
                </a:cubicBezTo>
                <a:cubicBezTo>
                  <a:pt x="4296792" y="2784111"/>
                  <a:pt x="4296513" y="2832610"/>
                  <a:pt x="4295955" y="2897238"/>
                </a:cubicBezTo>
                <a:cubicBezTo>
                  <a:pt x="4295397" y="2961867"/>
                  <a:pt x="4295118" y="3010366"/>
                  <a:pt x="4295118" y="3042737"/>
                </a:cubicBezTo>
                <a:cubicBezTo>
                  <a:pt x="4295118" y="3051666"/>
                  <a:pt x="4295397" y="3065228"/>
                  <a:pt x="4295955" y="3083422"/>
                </a:cubicBezTo>
                <a:cubicBezTo>
                  <a:pt x="4296513" y="3101617"/>
                  <a:pt x="4296792" y="3115290"/>
                  <a:pt x="4296792" y="3124443"/>
                </a:cubicBezTo>
                <a:cubicBezTo>
                  <a:pt x="4296792" y="3144312"/>
                  <a:pt x="4306726" y="3154246"/>
                  <a:pt x="4326595" y="3154246"/>
                </a:cubicBezTo>
                <a:cubicBezTo>
                  <a:pt x="4346464" y="3154246"/>
                  <a:pt x="4356398" y="3144312"/>
                  <a:pt x="4356398" y="3124443"/>
                </a:cubicBezTo>
                <a:lnTo>
                  <a:pt x="4356398" y="2751740"/>
                </a:lnTo>
                <a:cubicBezTo>
                  <a:pt x="4356398" y="2731872"/>
                  <a:pt x="4346464" y="2721938"/>
                  <a:pt x="4326595" y="2721938"/>
                </a:cubicBezTo>
                <a:close/>
                <a:moveTo>
                  <a:pt x="1841835" y="2142401"/>
                </a:moveTo>
                <a:cubicBezTo>
                  <a:pt x="1872419" y="2142401"/>
                  <a:pt x="1896753" y="2154456"/>
                  <a:pt x="1914835" y="2178566"/>
                </a:cubicBezTo>
                <a:cubicBezTo>
                  <a:pt x="1931578" y="2200890"/>
                  <a:pt x="1939950" y="2228684"/>
                  <a:pt x="1939950" y="2261947"/>
                </a:cubicBezTo>
                <a:cubicBezTo>
                  <a:pt x="1939950" y="2295880"/>
                  <a:pt x="1929569" y="2324232"/>
                  <a:pt x="1908808" y="2347002"/>
                </a:cubicBezTo>
                <a:cubicBezTo>
                  <a:pt x="1888046" y="2369773"/>
                  <a:pt x="1861480" y="2381158"/>
                  <a:pt x="1829110" y="2381158"/>
                </a:cubicBezTo>
                <a:cubicBezTo>
                  <a:pt x="1811921" y="2381158"/>
                  <a:pt x="1796405" y="2379038"/>
                  <a:pt x="1782564" y="2374796"/>
                </a:cubicBezTo>
                <a:cubicBezTo>
                  <a:pt x="1763142" y="2367206"/>
                  <a:pt x="1748073" y="2360955"/>
                  <a:pt x="1737358" y="2356044"/>
                </a:cubicBezTo>
                <a:lnTo>
                  <a:pt x="1737023" y="2301126"/>
                </a:lnTo>
                <a:lnTo>
                  <a:pt x="1736688" y="2248887"/>
                </a:lnTo>
                <a:lnTo>
                  <a:pt x="1737358" y="2190956"/>
                </a:lnTo>
                <a:cubicBezTo>
                  <a:pt x="1760128" y="2173990"/>
                  <a:pt x="1776202" y="2162939"/>
                  <a:pt x="1785578" y="2157805"/>
                </a:cubicBezTo>
                <a:cubicBezTo>
                  <a:pt x="1804777" y="2147535"/>
                  <a:pt x="1823529" y="2142401"/>
                  <a:pt x="1841835" y="2142401"/>
                </a:cubicBezTo>
                <a:close/>
                <a:moveTo>
                  <a:pt x="2601119" y="2141061"/>
                </a:moveTo>
                <a:cubicBezTo>
                  <a:pt x="2635722" y="2141061"/>
                  <a:pt x="2662622" y="2149991"/>
                  <a:pt x="2681821" y="2167850"/>
                </a:cubicBezTo>
                <a:cubicBezTo>
                  <a:pt x="2664631" y="2182361"/>
                  <a:pt x="2635833" y="2199439"/>
                  <a:pt x="2595426" y="2219085"/>
                </a:cubicBezTo>
                <a:lnTo>
                  <a:pt x="2492623" y="2267975"/>
                </a:lnTo>
                <a:cubicBezTo>
                  <a:pt x="2501553" y="2225559"/>
                  <a:pt x="2515059" y="2193802"/>
                  <a:pt x="2533142" y="2172706"/>
                </a:cubicBezTo>
                <a:cubicBezTo>
                  <a:pt x="2551224" y="2151610"/>
                  <a:pt x="2573883" y="2141061"/>
                  <a:pt x="2601119" y="2141061"/>
                </a:cubicBezTo>
                <a:close/>
                <a:moveTo>
                  <a:pt x="2229644" y="2141061"/>
                </a:moveTo>
                <a:cubicBezTo>
                  <a:pt x="2264247" y="2141061"/>
                  <a:pt x="2291147" y="2149991"/>
                  <a:pt x="2310346" y="2167850"/>
                </a:cubicBezTo>
                <a:cubicBezTo>
                  <a:pt x="2293156" y="2182361"/>
                  <a:pt x="2264358" y="2199439"/>
                  <a:pt x="2223951" y="2219085"/>
                </a:cubicBezTo>
                <a:lnTo>
                  <a:pt x="2121148" y="2267975"/>
                </a:lnTo>
                <a:cubicBezTo>
                  <a:pt x="2130078" y="2225559"/>
                  <a:pt x="2143584" y="2193802"/>
                  <a:pt x="2161667" y="2172706"/>
                </a:cubicBezTo>
                <a:cubicBezTo>
                  <a:pt x="2179749" y="2151610"/>
                  <a:pt x="2202408" y="2141061"/>
                  <a:pt x="2229644" y="2141061"/>
                </a:cubicBezTo>
                <a:close/>
                <a:moveTo>
                  <a:pt x="3560502" y="2140392"/>
                </a:moveTo>
                <a:cubicBezTo>
                  <a:pt x="3564074" y="2140392"/>
                  <a:pt x="3568818" y="2141396"/>
                  <a:pt x="3574734" y="2143405"/>
                </a:cubicBezTo>
                <a:cubicBezTo>
                  <a:pt x="3580650" y="2145415"/>
                  <a:pt x="3587738" y="2148540"/>
                  <a:pt x="3595998" y="2152782"/>
                </a:cubicBezTo>
                <a:cubicBezTo>
                  <a:pt x="3593542" y="2165506"/>
                  <a:pt x="3591700" y="2177506"/>
                  <a:pt x="3590473" y="2188779"/>
                </a:cubicBezTo>
                <a:cubicBezTo>
                  <a:pt x="3589245" y="2200053"/>
                  <a:pt x="3588631" y="2210490"/>
                  <a:pt x="3588631" y="2220089"/>
                </a:cubicBezTo>
                <a:cubicBezTo>
                  <a:pt x="3588631" y="2249557"/>
                  <a:pt x="3592203" y="2293871"/>
                  <a:pt x="3599346" y="2353030"/>
                </a:cubicBezTo>
                <a:cubicBezTo>
                  <a:pt x="3584836" y="2365755"/>
                  <a:pt x="3573562" y="2374238"/>
                  <a:pt x="3565525" y="2378479"/>
                </a:cubicBezTo>
                <a:cubicBezTo>
                  <a:pt x="3550568" y="2386293"/>
                  <a:pt x="3532374" y="2390200"/>
                  <a:pt x="3510943" y="2390200"/>
                </a:cubicBezTo>
                <a:cubicBezTo>
                  <a:pt x="3485046" y="2390200"/>
                  <a:pt x="3465624" y="2381047"/>
                  <a:pt x="3452676" y="2362741"/>
                </a:cubicBezTo>
                <a:cubicBezTo>
                  <a:pt x="3439728" y="2344435"/>
                  <a:pt x="3433254" y="2316976"/>
                  <a:pt x="3433254" y="2280365"/>
                </a:cubicBezTo>
                <a:cubicBezTo>
                  <a:pt x="3433254" y="2243530"/>
                  <a:pt x="3445812" y="2210992"/>
                  <a:pt x="3470926" y="2182752"/>
                </a:cubicBezTo>
                <a:cubicBezTo>
                  <a:pt x="3496041" y="2154512"/>
                  <a:pt x="3525900" y="2140392"/>
                  <a:pt x="3560502" y="2140392"/>
                </a:cubicBezTo>
                <a:close/>
                <a:moveTo>
                  <a:pt x="3556149" y="2081121"/>
                </a:moveTo>
                <a:cubicBezTo>
                  <a:pt x="3504580" y="2081121"/>
                  <a:pt x="3460211" y="2100320"/>
                  <a:pt x="3423041" y="2138717"/>
                </a:cubicBezTo>
                <a:cubicBezTo>
                  <a:pt x="3385871" y="2177115"/>
                  <a:pt x="3367286" y="2223326"/>
                  <a:pt x="3367286" y="2277351"/>
                </a:cubicBezTo>
                <a:cubicBezTo>
                  <a:pt x="3367286" y="2334501"/>
                  <a:pt x="3378560" y="2376917"/>
                  <a:pt x="3401107" y="2404599"/>
                </a:cubicBezTo>
                <a:cubicBezTo>
                  <a:pt x="3424994" y="2434067"/>
                  <a:pt x="3463057" y="2448801"/>
                  <a:pt x="3515296" y="2448801"/>
                </a:cubicBezTo>
                <a:cubicBezTo>
                  <a:pt x="3526235" y="2448801"/>
                  <a:pt x="3539852" y="2445843"/>
                  <a:pt x="3556149" y="2439927"/>
                </a:cubicBezTo>
                <a:cubicBezTo>
                  <a:pt x="3572446" y="2434011"/>
                  <a:pt x="3591310" y="2425249"/>
                  <a:pt x="3612741" y="2413640"/>
                </a:cubicBezTo>
                <a:cubicBezTo>
                  <a:pt x="3617652" y="2420784"/>
                  <a:pt x="3625131" y="2428932"/>
                  <a:pt x="3635177" y="2438085"/>
                </a:cubicBezTo>
                <a:cubicBezTo>
                  <a:pt x="3646339" y="2447908"/>
                  <a:pt x="3654041" y="2452819"/>
                  <a:pt x="3658282" y="2452819"/>
                </a:cubicBezTo>
                <a:cubicBezTo>
                  <a:pt x="3666542" y="2452819"/>
                  <a:pt x="3673798" y="2449917"/>
                  <a:pt x="3680048" y="2444113"/>
                </a:cubicBezTo>
                <a:cubicBezTo>
                  <a:pt x="3686299" y="2438308"/>
                  <a:pt x="3689425" y="2430941"/>
                  <a:pt x="3689425" y="2422012"/>
                </a:cubicBezTo>
                <a:lnTo>
                  <a:pt x="3687415" y="2416319"/>
                </a:lnTo>
                <a:cubicBezTo>
                  <a:pt x="3683844" y="2408506"/>
                  <a:pt x="3681276" y="2402590"/>
                  <a:pt x="3679714" y="2398571"/>
                </a:cubicBezTo>
                <a:cubicBezTo>
                  <a:pt x="3667882" y="2369103"/>
                  <a:pt x="3660850" y="2349458"/>
                  <a:pt x="3658617" y="2339635"/>
                </a:cubicBezTo>
                <a:cubicBezTo>
                  <a:pt x="3654599" y="2323562"/>
                  <a:pt x="3652701" y="2301684"/>
                  <a:pt x="3652925" y="2274002"/>
                </a:cubicBezTo>
                <a:cubicBezTo>
                  <a:pt x="3653148" y="2243641"/>
                  <a:pt x="3653873" y="2218750"/>
                  <a:pt x="3655101" y="2199328"/>
                </a:cubicBezTo>
                <a:cubicBezTo>
                  <a:pt x="3656329" y="2179906"/>
                  <a:pt x="3658059" y="2165953"/>
                  <a:pt x="3660292" y="2157470"/>
                </a:cubicBezTo>
                <a:cubicBezTo>
                  <a:pt x="3664756" y="2152782"/>
                  <a:pt x="3666989" y="2147424"/>
                  <a:pt x="3666989" y="2141396"/>
                </a:cubicBezTo>
                <a:cubicBezTo>
                  <a:pt x="3666989" y="2123760"/>
                  <a:pt x="3651808" y="2108691"/>
                  <a:pt x="3621447" y="2096190"/>
                </a:cubicBezTo>
                <a:cubicBezTo>
                  <a:pt x="3597337" y="2086144"/>
                  <a:pt x="3575571" y="2081121"/>
                  <a:pt x="3556149" y="2081121"/>
                </a:cubicBezTo>
                <a:close/>
                <a:moveTo>
                  <a:pt x="2601119" y="2080786"/>
                </a:moveTo>
                <a:cubicBezTo>
                  <a:pt x="2549997" y="2080786"/>
                  <a:pt x="2509143" y="2102217"/>
                  <a:pt x="2478559" y="2145080"/>
                </a:cubicBezTo>
                <a:cubicBezTo>
                  <a:pt x="2450430" y="2184370"/>
                  <a:pt x="2436366" y="2233037"/>
                  <a:pt x="2436366" y="2291080"/>
                </a:cubicBezTo>
                <a:cubicBezTo>
                  <a:pt x="2436366" y="2341310"/>
                  <a:pt x="2453444" y="2380377"/>
                  <a:pt x="2487600" y="2408282"/>
                </a:cubicBezTo>
                <a:cubicBezTo>
                  <a:pt x="2518854" y="2433509"/>
                  <a:pt x="2559708" y="2446122"/>
                  <a:pt x="2610160" y="2446122"/>
                </a:cubicBezTo>
                <a:cubicBezTo>
                  <a:pt x="2642530" y="2446122"/>
                  <a:pt x="2675793" y="2438532"/>
                  <a:pt x="2709950" y="2423351"/>
                </a:cubicBezTo>
                <a:cubicBezTo>
                  <a:pt x="2749910" y="2405492"/>
                  <a:pt x="2769890" y="2384172"/>
                  <a:pt x="2769890" y="2359392"/>
                </a:cubicBezTo>
                <a:cubicBezTo>
                  <a:pt x="2769890" y="2351579"/>
                  <a:pt x="2766820" y="2344714"/>
                  <a:pt x="2760681" y="2338798"/>
                </a:cubicBezTo>
                <a:cubicBezTo>
                  <a:pt x="2754542" y="2332882"/>
                  <a:pt x="2747566" y="2329924"/>
                  <a:pt x="2739752" y="2329924"/>
                </a:cubicBezTo>
                <a:cubicBezTo>
                  <a:pt x="2731046" y="2329924"/>
                  <a:pt x="2722898" y="2335896"/>
                  <a:pt x="2715307" y="2347839"/>
                </a:cubicBezTo>
                <a:cubicBezTo>
                  <a:pt x="2707717" y="2359783"/>
                  <a:pt x="2690751" y="2369438"/>
                  <a:pt x="2664408" y="2376805"/>
                </a:cubicBezTo>
                <a:cubicBezTo>
                  <a:pt x="2643647" y="2382609"/>
                  <a:pt x="2625564" y="2385512"/>
                  <a:pt x="2610160" y="2385512"/>
                </a:cubicBezTo>
                <a:cubicBezTo>
                  <a:pt x="2585380" y="2385512"/>
                  <a:pt x="2563670" y="2380823"/>
                  <a:pt x="2545029" y="2371447"/>
                </a:cubicBezTo>
                <a:cubicBezTo>
                  <a:pt x="2526389" y="2362071"/>
                  <a:pt x="2510818" y="2348119"/>
                  <a:pt x="2498316" y="2329589"/>
                </a:cubicBezTo>
                <a:lnTo>
                  <a:pt x="2626234" y="2268979"/>
                </a:lnTo>
                <a:cubicBezTo>
                  <a:pt x="2662399" y="2252013"/>
                  <a:pt x="2686063" y="2239511"/>
                  <a:pt x="2697225" y="2231474"/>
                </a:cubicBezTo>
                <a:cubicBezTo>
                  <a:pt x="2722451" y="2213169"/>
                  <a:pt x="2735064" y="2192854"/>
                  <a:pt x="2735064" y="2170529"/>
                </a:cubicBezTo>
                <a:cubicBezTo>
                  <a:pt x="2735064" y="2138606"/>
                  <a:pt x="2720665" y="2114942"/>
                  <a:pt x="2691867" y="2099538"/>
                </a:cubicBezTo>
                <a:cubicBezTo>
                  <a:pt x="2668426" y="2087037"/>
                  <a:pt x="2638177" y="2080786"/>
                  <a:pt x="2601119" y="2080786"/>
                </a:cubicBezTo>
                <a:close/>
                <a:moveTo>
                  <a:pt x="2229644" y="2080786"/>
                </a:moveTo>
                <a:cubicBezTo>
                  <a:pt x="2178522" y="2080786"/>
                  <a:pt x="2137668" y="2102217"/>
                  <a:pt x="2107084" y="2145080"/>
                </a:cubicBezTo>
                <a:cubicBezTo>
                  <a:pt x="2078956" y="2184370"/>
                  <a:pt x="2064891" y="2233037"/>
                  <a:pt x="2064891" y="2291080"/>
                </a:cubicBezTo>
                <a:cubicBezTo>
                  <a:pt x="2064891" y="2341310"/>
                  <a:pt x="2081969" y="2380377"/>
                  <a:pt x="2116125" y="2408282"/>
                </a:cubicBezTo>
                <a:cubicBezTo>
                  <a:pt x="2147379" y="2433509"/>
                  <a:pt x="2188233" y="2446122"/>
                  <a:pt x="2238685" y="2446122"/>
                </a:cubicBezTo>
                <a:cubicBezTo>
                  <a:pt x="2271055" y="2446122"/>
                  <a:pt x="2304318" y="2438532"/>
                  <a:pt x="2338475" y="2423351"/>
                </a:cubicBezTo>
                <a:cubicBezTo>
                  <a:pt x="2378435" y="2405492"/>
                  <a:pt x="2398415" y="2384172"/>
                  <a:pt x="2398415" y="2359392"/>
                </a:cubicBezTo>
                <a:cubicBezTo>
                  <a:pt x="2398415" y="2351579"/>
                  <a:pt x="2395345" y="2344714"/>
                  <a:pt x="2389206" y="2338798"/>
                </a:cubicBezTo>
                <a:cubicBezTo>
                  <a:pt x="2383067" y="2332882"/>
                  <a:pt x="2376091" y="2329924"/>
                  <a:pt x="2368277" y="2329924"/>
                </a:cubicBezTo>
                <a:cubicBezTo>
                  <a:pt x="2359571" y="2329924"/>
                  <a:pt x="2351423" y="2335896"/>
                  <a:pt x="2343832" y="2347839"/>
                </a:cubicBezTo>
                <a:cubicBezTo>
                  <a:pt x="2336242" y="2359783"/>
                  <a:pt x="2319276" y="2369438"/>
                  <a:pt x="2292933" y="2376805"/>
                </a:cubicBezTo>
                <a:cubicBezTo>
                  <a:pt x="2272172" y="2382609"/>
                  <a:pt x="2254089" y="2385512"/>
                  <a:pt x="2238685" y="2385512"/>
                </a:cubicBezTo>
                <a:cubicBezTo>
                  <a:pt x="2213905" y="2385512"/>
                  <a:pt x="2192195" y="2380823"/>
                  <a:pt x="2173554" y="2371447"/>
                </a:cubicBezTo>
                <a:cubicBezTo>
                  <a:pt x="2154914" y="2362071"/>
                  <a:pt x="2139343" y="2348119"/>
                  <a:pt x="2126841" y="2329589"/>
                </a:cubicBezTo>
                <a:lnTo>
                  <a:pt x="2254759" y="2268979"/>
                </a:lnTo>
                <a:cubicBezTo>
                  <a:pt x="2290924" y="2252013"/>
                  <a:pt x="2314588" y="2239511"/>
                  <a:pt x="2325750" y="2231474"/>
                </a:cubicBezTo>
                <a:cubicBezTo>
                  <a:pt x="2350976" y="2213169"/>
                  <a:pt x="2363589" y="2192854"/>
                  <a:pt x="2363589" y="2170529"/>
                </a:cubicBezTo>
                <a:cubicBezTo>
                  <a:pt x="2363589" y="2138606"/>
                  <a:pt x="2349190" y="2114942"/>
                  <a:pt x="2320392" y="2099538"/>
                </a:cubicBezTo>
                <a:cubicBezTo>
                  <a:pt x="2296951" y="2087037"/>
                  <a:pt x="2266702" y="2080786"/>
                  <a:pt x="2229644" y="2080786"/>
                </a:cubicBezTo>
                <a:close/>
                <a:moveTo>
                  <a:pt x="2860750" y="2065047"/>
                </a:moveTo>
                <a:cubicBezTo>
                  <a:pt x="2851373" y="2065047"/>
                  <a:pt x="2843504" y="2068117"/>
                  <a:pt x="2837142" y="2074256"/>
                </a:cubicBezTo>
                <a:cubicBezTo>
                  <a:pt x="2830779" y="2080395"/>
                  <a:pt x="2827598" y="2088265"/>
                  <a:pt x="2827598" y="2097864"/>
                </a:cubicBezTo>
                <a:cubicBezTo>
                  <a:pt x="2827598" y="2105008"/>
                  <a:pt x="2827989" y="2115612"/>
                  <a:pt x="2828770" y="2129676"/>
                </a:cubicBezTo>
                <a:cubicBezTo>
                  <a:pt x="2829552" y="2143740"/>
                  <a:pt x="2829942" y="2154344"/>
                  <a:pt x="2829942" y="2161488"/>
                </a:cubicBezTo>
                <a:cubicBezTo>
                  <a:pt x="2829942" y="2184482"/>
                  <a:pt x="2828324" y="2216350"/>
                  <a:pt x="2825087" y="2257092"/>
                </a:cubicBezTo>
                <a:cubicBezTo>
                  <a:pt x="2821850" y="2297833"/>
                  <a:pt x="2820231" y="2329701"/>
                  <a:pt x="2820231" y="2352695"/>
                </a:cubicBezTo>
                <a:cubicBezTo>
                  <a:pt x="2820231" y="2359392"/>
                  <a:pt x="2820957" y="2369438"/>
                  <a:pt x="2822408" y="2382833"/>
                </a:cubicBezTo>
                <a:cubicBezTo>
                  <a:pt x="2823859" y="2396227"/>
                  <a:pt x="2824584" y="2406273"/>
                  <a:pt x="2824584" y="2412970"/>
                </a:cubicBezTo>
                <a:cubicBezTo>
                  <a:pt x="2824584" y="2423016"/>
                  <a:pt x="2827598" y="2431165"/>
                  <a:pt x="2833626" y="2437415"/>
                </a:cubicBezTo>
                <a:cubicBezTo>
                  <a:pt x="2839653" y="2443666"/>
                  <a:pt x="2847578" y="2446792"/>
                  <a:pt x="2857401" y="2446792"/>
                </a:cubicBezTo>
                <a:cubicBezTo>
                  <a:pt x="2867000" y="2446792"/>
                  <a:pt x="2874870" y="2443666"/>
                  <a:pt x="2881009" y="2437415"/>
                </a:cubicBezTo>
                <a:cubicBezTo>
                  <a:pt x="2887148" y="2431165"/>
                  <a:pt x="2890218" y="2423016"/>
                  <a:pt x="2890218" y="2412970"/>
                </a:cubicBezTo>
                <a:cubicBezTo>
                  <a:pt x="2890218" y="2406273"/>
                  <a:pt x="2889548" y="2396227"/>
                  <a:pt x="2888208" y="2382833"/>
                </a:cubicBezTo>
                <a:cubicBezTo>
                  <a:pt x="2886869" y="2369438"/>
                  <a:pt x="2886199" y="2359392"/>
                  <a:pt x="2886199" y="2352695"/>
                </a:cubicBezTo>
                <a:cubicBezTo>
                  <a:pt x="2886199" y="2342203"/>
                  <a:pt x="2886869" y="2331375"/>
                  <a:pt x="2888208" y="2320213"/>
                </a:cubicBezTo>
                <a:cubicBezTo>
                  <a:pt x="2889771" y="2307042"/>
                  <a:pt x="2890776" y="2296103"/>
                  <a:pt x="2891222" y="2287397"/>
                </a:cubicBezTo>
                <a:cubicBezTo>
                  <a:pt x="2902831" y="2246097"/>
                  <a:pt x="2918904" y="2211941"/>
                  <a:pt x="2939443" y="2184928"/>
                </a:cubicBezTo>
                <a:cubicBezTo>
                  <a:pt x="2962213" y="2155237"/>
                  <a:pt x="2986100" y="2140392"/>
                  <a:pt x="3011103" y="2140392"/>
                </a:cubicBezTo>
                <a:cubicBezTo>
                  <a:pt x="3028963" y="2140392"/>
                  <a:pt x="3037892" y="2164502"/>
                  <a:pt x="3037892" y="2212722"/>
                </a:cubicBezTo>
                <a:cubicBezTo>
                  <a:pt x="3037892" y="2218973"/>
                  <a:pt x="3037502" y="2229577"/>
                  <a:pt x="3036720" y="2244534"/>
                </a:cubicBezTo>
                <a:cubicBezTo>
                  <a:pt x="3035939" y="2259491"/>
                  <a:pt x="3035548" y="2270095"/>
                  <a:pt x="3035548" y="2276346"/>
                </a:cubicBezTo>
                <a:cubicBezTo>
                  <a:pt x="3035548" y="2299117"/>
                  <a:pt x="3037111" y="2323562"/>
                  <a:pt x="3040236" y="2349681"/>
                </a:cubicBezTo>
                <a:lnTo>
                  <a:pt x="3049613" y="2423016"/>
                </a:lnTo>
                <a:cubicBezTo>
                  <a:pt x="3052068" y="2444001"/>
                  <a:pt x="3062895" y="2454493"/>
                  <a:pt x="3082094" y="2454493"/>
                </a:cubicBezTo>
                <a:cubicBezTo>
                  <a:pt x="3091694" y="2454493"/>
                  <a:pt x="3099675" y="2451424"/>
                  <a:pt x="3106037" y="2445285"/>
                </a:cubicBezTo>
                <a:cubicBezTo>
                  <a:pt x="3112399" y="2439146"/>
                  <a:pt x="3115581" y="2431165"/>
                  <a:pt x="3115581" y="2421342"/>
                </a:cubicBezTo>
                <a:cubicBezTo>
                  <a:pt x="3115581" y="2403036"/>
                  <a:pt x="3113181" y="2379205"/>
                  <a:pt x="3108381" y="2349849"/>
                </a:cubicBezTo>
                <a:cubicBezTo>
                  <a:pt x="3103581" y="2320492"/>
                  <a:pt x="3101181" y="2296550"/>
                  <a:pt x="3101181" y="2278020"/>
                </a:cubicBezTo>
                <a:lnTo>
                  <a:pt x="3101516" y="2246878"/>
                </a:lnTo>
                <a:lnTo>
                  <a:pt x="3101516" y="2213057"/>
                </a:lnTo>
                <a:cubicBezTo>
                  <a:pt x="3100623" y="2171980"/>
                  <a:pt x="3095377" y="2140950"/>
                  <a:pt x="3085778" y="2119965"/>
                </a:cubicBezTo>
                <a:cubicBezTo>
                  <a:pt x="3071713" y="2088488"/>
                  <a:pt x="3046822" y="2072749"/>
                  <a:pt x="3011103" y="2072749"/>
                </a:cubicBezTo>
                <a:cubicBezTo>
                  <a:pt x="2971589" y="2072749"/>
                  <a:pt x="2933080" y="2097752"/>
                  <a:pt x="2895575" y="2147759"/>
                </a:cubicBezTo>
                <a:lnTo>
                  <a:pt x="2894571" y="2108580"/>
                </a:lnTo>
                <a:cubicBezTo>
                  <a:pt x="2892562" y="2079558"/>
                  <a:pt x="2881288" y="2065047"/>
                  <a:pt x="2860750" y="2065047"/>
                </a:cubicBezTo>
                <a:close/>
                <a:moveTo>
                  <a:pt x="1347466" y="2048304"/>
                </a:moveTo>
                <a:cubicBezTo>
                  <a:pt x="1336750" y="2048304"/>
                  <a:pt x="1326815" y="2050313"/>
                  <a:pt x="1317663" y="2054332"/>
                </a:cubicBezTo>
                <a:cubicBezTo>
                  <a:pt x="1304938" y="2060136"/>
                  <a:pt x="1283841" y="2067224"/>
                  <a:pt x="1254374" y="2075596"/>
                </a:cubicBezTo>
                <a:cubicBezTo>
                  <a:pt x="1224905" y="2083967"/>
                  <a:pt x="1203474" y="2091167"/>
                  <a:pt x="1190080" y="2097194"/>
                </a:cubicBezTo>
                <a:cubicBezTo>
                  <a:pt x="1146101" y="2117063"/>
                  <a:pt x="1124112" y="2150326"/>
                  <a:pt x="1124112" y="2196984"/>
                </a:cubicBezTo>
                <a:cubicBezTo>
                  <a:pt x="1124112" y="2222210"/>
                  <a:pt x="1133153" y="2241074"/>
                  <a:pt x="1151236" y="2253575"/>
                </a:cubicBezTo>
                <a:cubicBezTo>
                  <a:pt x="1163737" y="2262282"/>
                  <a:pt x="1184834" y="2269872"/>
                  <a:pt x="1214525" y="2276346"/>
                </a:cubicBezTo>
                <a:lnTo>
                  <a:pt x="1249351" y="2284048"/>
                </a:lnTo>
                <a:cubicBezTo>
                  <a:pt x="1291766" y="2294764"/>
                  <a:pt x="1312975" y="2315302"/>
                  <a:pt x="1312975" y="2345663"/>
                </a:cubicBezTo>
                <a:cubicBezTo>
                  <a:pt x="1312975" y="2359727"/>
                  <a:pt x="1302594" y="2369996"/>
                  <a:pt x="1281832" y="2376470"/>
                </a:cubicBezTo>
                <a:cubicBezTo>
                  <a:pt x="1267545" y="2380935"/>
                  <a:pt x="1251025" y="2383168"/>
                  <a:pt x="1232272" y="2383168"/>
                </a:cubicBezTo>
                <a:cubicBezTo>
                  <a:pt x="1222003" y="2383168"/>
                  <a:pt x="1209390" y="2381828"/>
                  <a:pt x="1194433" y="2379149"/>
                </a:cubicBezTo>
                <a:cubicBezTo>
                  <a:pt x="1175680" y="2375801"/>
                  <a:pt x="1163625" y="2371559"/>
                  <a:pt x="1158268" y="2366424"/>
                </a:cubicBezTo>
                <a:cubicBezTo>
                  <a:pt x="1147329" y="2355709"/>
                  <a:pt x="1138399" y="2350351"/>
                  <a:pt x="1131479" y="2350351"/>
                </a:cubicBezTo>
                <a:cubicBezTo>
                  <a:pt x="1122549" y="2350351"/>
                  <a:pt x="1114568" y="2353700"/>
                  <a:pt x="1107536" y="2360397"/>
                </a:cubicBezTo>
                <a:cubicBezTo>
                  <a:pt x="1100504" y="2367094"/>
                  <a:pt x="1096988" y="2374908"/>
                  <a:pt x="1096988" y="2383837"/>
                </a:cubicBezTo>
                <a:cubicBezTo>
                  <a:pt x="1096988" y="2406161"/>
                  <a:pt x="1114178" y="2423574"/>
                  <a:pt x="1148556" y="2436076"/>
                </a:cubicBezTo>
                <a:cubicBezTo>
                  <a:pt x="1175122" y="2445899"/>
                  <a:pt x="1203028" y="2450810"/>
                  <a:pt x="1232272" y="2450810"/>
                </a:cubicBezTo>
                <a:cubicBezTo>
                  <a:pt x="1272233" y="2450810"/>
                  <a:pt x="1305273" y="2443220"/>
                  <a:pt x="1331392" y="2428039"/>
                </a:cubicBezTo>
                <a:cubicBezTo>
                  <a:pt x="1362869" y="2409510"/>
                  <a:pt x="1378608" y="2382051"/>
                  <a:pt x="1378608" y="2345663"/>
                </a:cubicBezTo>
                <a:cubicBezTo>
                  <a:pt x="1378608" y="2301238"/>
                  <a:pt x="1360413" y="2267305"/>
                  <a:pt x="1324025" y="2243864"/>
                </a:cubicBezTo>
                <a:cubicBezTo>
                  <a:pt x="1299022" y="2227791"/>
                  <a:pt x="1260848" y="2215178"/>
                  <a:pt x="1209502" y="2206025"/>
                </a:cubicBezTo>
                <a:cubicBezTo>
                  <a:pt x="1203028" y="2204909"/>
                  <a:pt x="1196442" y="2203123"/>
                  <a:pt x="1189745" y="2200667"/>
                </a:cubicBezTo>
                <a:cubicBezTo>
                  <a:pt x="1189968" y="2179682"/>
                  <a:pt x="1208051" y="2162046"/>
                  <a:pt x="1243993" y="2147759"/>
                </a:cubicBezTo>
                <a:cubicBezTo>
                  <a:pt x="1278819" y="2136373"/>
                  <a:pt x="1304603" y="2128560"/>
                  <a:pt x="1321346" y="2124318"/>
                </a:cubicBezTo>
                <a:cubicBezTo>
                  <a:pt x="1323802" y="2142624"/>
                  <a:pt x="1326704" y="2154679"/>
                  <a:pt x="1330052" y="2160483"/>
                </a:cubicBezTo>
                <a:cubicBezTo>
                  <a:pt x="1334964" y="2168743"/>
                  <a:pt x="1343559" y="2172873"/>
                  <a:pt x="1355837" y="2172873"/>
                </a:cubicBezTo>
                <a:cubicBezTo>
                  <a:pt x="1365436" y="2172873"/>
                  <a:pt x="1373306" y="2169748"/>
                  <a:pt x="1379445" y="2163497"/>
                </a:cubicBezTo>
                <a:cubicBezTo>
                  <a:pt x="1385584" y="2157246"/>
                  <a:pt x="1388654" y="2149098"/>
                  <a:pt x="1388654" y="2139052"/>
                </a:cubicBezTo>
                <a:cubicBezTo>
                  <a:pt x="1388654" y="2132578"/>
                  <a:pt x="1387258" y="2123090"/>
                  <a:pt x="1384468" y="2110589"/>
                </a:cubicBezTo>
                <a:cubicBezTo>
                  <a:pt x="1381677" y="2098087"/>
                  <a:pt x="1380282" y="2088600"/>
                  <a:pt x="1380282" y="2082126"/>
                </a:cubicBezTo>
                <a:cubicBezTo>
                  <a:pt x="1380282" y="2072080"/>
                  <a:pt x="1377212" y="2063931"/>
                  <a:pt x="1371073" y="2057680"/>
                </a:cubicBezTo>
                <a:cubicBezTo>
                  <a:pt x="1364934" y="2051430"/>
                  <a:pt x="1357065" y="2048304"/>
                  <a:pt x="1347466" y="2048304"/>
                </a:cubicBezTo>
                <a:close/>
                <a:moveTo>
                  <a:pt x="647415" y="1962914"/>
                </a:moveTo>
                <a:cubicBezTo>
                  <a:pt x="638039" y="1962914"/>
                  <a:pt x="630114" y="1965984"/>
                  <a:pt x="623640" y="1972123"/>
                </a:cubicBezTo>
                <a:cubicBezTo>
                  <a:pt x="617166" y="1978262"/>
                  <a:pt x="613929" y="1986020"/>
                  <a:pt x="613929" y="1995396"/>
                </a:cubicBezTo>
                <a:cubicBezTo>
                  <a:pt x="613929" y="2003879"/>
                  <a:pt x="614431" y="2017664"/>
                  <a:pt x="615436" y="2036752"/>
                </a:cubicBezTo>
                <a:cubicBezTo>
                  <a:pt x="616440" y="2055839"/>
                  <a:pt x="616943" y="2071075"/>
                  <a:pt x="616943" y="2082460"/>
                </a:cubicBezTo>
                <a:lnTo>
                  <a:pt x="546621" y="2076768"/>
                </a:lnTo>
                <a:cubicBezTo>
                  <a:pt x="537245" y="2076768"/>
                  <a:pt x="529543" y="2080005"/>
                  <a:pt x="523516" y="2086479"/>
                </a:cubicBezTo>
                <a:cubicBezTo>
                  <a:pt x="517488" y="2092953"/>
                  <a:pt x="514474" y="2101101"/>
                  <a:pt x="514474" y="2110924"/>
                </a:cubicBezTo>
                <a:cubicBezTo>
                  <a:pt x="514474" y="2130346"/>
                  <a:pt x="524409" y="2141396"/>
                  <a:pt x="544277" y="2144075"/>
                </a:cubicBezTo>
                <a:cubicBezTo>
                  <a:pt x="577540" y="2147201"/>
                  <a:pt x="602320" y="2149098"/>
                  <a:pt x="618617" y="2149768"/>
                </a:cubicBezTo>
                <a:lnTo>
                  <a:pt x="625314" y="2345328"/>
                </a:lnTo>
                <a:cubicBezTo>
                  <a:pt x="625314" y="2353811"/>
                  <a:pt x="624979" y="2366536"/>
                  <a:pt x="624309" y="2383502"/>
                </a:cubicBezTo>
                <a:cubicBezTo>
                  <a:pt x="623640" y="2400469"/>
                  <a:pt x="623305" y="2413194"/>
                  <a:pt x="623305" y="2421677"/>
                </a:cubicBezTo>
                <a:cubicBezTo>
                  <a:pt x="623305" y="2430383"/>
                  <a:pt x="626598" y="2437639"/>
                  <a:pt x="633184" y="2443443"/>
                </a:cubicBezTo>
                <a:cubicBezTo>
                  <a:pt x="639769" y="2449247"/>
                  <a:pt x="647527" y="2452149"/>
                  <a:pt x="656457" y="2452149"/>
                </a:cubicBezTo>
                <a:cubicBezTo>
                  <a:pt x="680790" y="2452149"/>
                  <a:pt x="692510" y="2427704"/>
                  <a:pt x="691617" y="2378814"/>
                </a:cubicBezTo>
                <a:lnTo>
                  <a:pt x="691282" y="2361736"/>
                </a:lnTo>
                <a:lnTo>
                  <a:pt x="690947" y="2347002"/>
                </a:lnTo>
                <a:lnTo>
                  <a:pt x="684585" y="2149098"/>
                </a:lnTo>
                <a:cubicBezTo>
                  <a:pt x="709811" y="2145750"/>
                  <a:pt x="724992" y="2144075"/>
                  <a:pt x="730126" y="2144075"/>
                </a:cubicBezTo>
                <a:cubicBezTo>
                  <a:pt x="734814" y="2144075"/>
                  <a:pt x="740340" y="2144298"/>
                  <a:pt x="746702" y="2144745"/>
                </a:cubicBezTo>
                <a:cubicBezTo>
                  <a:pt x="753064" y="2145191"/>
                  <a:pt x="758590" y="2145415"/>
                  <a:pt x="763278" y="2145415"/>
                </a:cubicBezTo>
                <a:cubicBezTo>
                  <a:pt x="772877" y="2145415"/>
                  <a:pt x="780746" y="2142233"/>
                  <a:pt x="786886" y="2135871"/>
                </a:cubicBezTo>
                <a:cubicBezTo>
                  <a:pt x="793025" y="2129509"/>
                  <a:pt x="796094" y="2121416"/>
                  <a:pt x="796094" y="2111593"/>
                </a:cubicBezTo>
                <a:cubicBezTo>
                  <a:pt x="796094" y="2095074"/>
                  <a:pt x="789286" y="2084581"/>
                  <a:pt x="775668" y="2080116"/>
                </a:cubicBezTo>
                <a:cubicBezTo>
                  <a:pt x="768524" y="2077884"/>
                  <a:pt x="753343" y="2076768"/>
                  <a:pt x="730126" y="2076768"/>
                </a:cubicBezTo>
                <a:cubicBezTo>
                  <a:pt x="726108" y="2076768"/>
                  <a:pt x="710258" y="2078554"/>
                  <a:pt x="682576" y="2082126"/>
                </a:cubicBezTo>
                <a:lnTo>
                  <a:pt x="682911" y="2061364"/>
                </a:lnTo>
                <a:lnTo>
                  <a:pt x="683581" y="2041942"/>
                </a:lnTo>
                <a:cubicBezTo>
                  <a:pt x="683581" y="2030333"/>
                  <a:pt x="683245" y="2020399"/>
                  <a:pt x="682576" y="2012139"/>
                </a:cubicBezTo>
                <a:cubicBezTo>
                  <a:pt x="679227" y="1979322"/>
                  <a:pt x="667507" y="1962914"/>
                  <a:pt x="647415" y="1962914"/>
                </a:cubicBezTo>
                <a:close/>
                <a:moveTo>
                  <a:pt x="279289" y="1930432"/>
                </a:moveTo>
                <a:cubicBezTo>
                  <a:pt x="229729" y="1930432"/>
                  <a:pt x="195908" y="1931325"/>
                  <a:pt x="177825" y="1933111"/>
                </a:cubicBezTo>
                <a:cubicBezTo>
                  <a:pt x="156840" y="1935121"/>
                  <a:pt x="146348" y="1946506"/>
                  <a:pt x="146348" y="1967267"/>
                </a:cubicBezTo>
                <a:cubicBezTo>
                  <a:pt x="146348" y="1977313"/>
                  <a:pt x="149585" y="1985573"/>
                  <a:pt x="156059" y="1992047"/>
                </a:cubicBezTo>
                <a:cubicBezTo>
                  <a:pt x="162533" y="1998521"/>
                  <a:pt x="170570" y="2001758"/>
                  <a:pt x="180169" y="2001758"/>
                </a:cubicBezTo>
                <a:lnTo>
                  <a:pt x="223701" y="2000754"/>
                </a:lnTo>
                <a:lnTo>
                  <a:pt x="267234" y="1999414"/>
                </a:lnTo>
                <a:cubicBezTo>
                  <a:pt x="260983" y="2076656"/>
                  <a:pt x="257858" y="2141061"/>
                  <a:pt x="257858" y="2192630"/>
                </a:cubicBezTo>
                <a:cubicBezTo>
                  <a:pt x="257858" y="2207811"/>
                  <a:pt x="258583" y="2226507"/>
                  <a:pt x="260034" y="2248720"/>
                </a:cubicBezTo>
                <a:cubicBezTo>
                  <a:pt x="261485" y="2270933"/>
                  <a:pt x="262211" y="2289741"/>
                  <a:pt x="262211" y="2305144"/>
                </a:cubicBezTo>
                <a:cubicBezTo>
                  <a:pt x="262211" y="2328362"/>
                  <a:pt x="261095" y="2349011"/>
                  <a:pt x="258862" y="2367094"/>
                </a:cubicBezTo>
                <a:cubicBezTo>
                  <a:pt x="225376" y="2371782"/>
                  <a:pt x="201377" y="2374126"/>
                  <a:pt x="186867" y="2374126"/>
                </a:cubicBezTo>
                <a:cubicBezTo>
                  <a:pt x="177490" y="2374126"/>
                  <a:pt x="169621" y="2377475"/>
                  <a:pt x="163259" y="2384172"/>
                </a:cubicBezTo>
                <a:cubicBezTo>
                  <a:pt x="156896" y="2390869"/>
                  <a:pt x="153715" y="2399018"/>
                  <a:pt x="153715" y="2408617"/>
                </a:cubicBezTo>
                <a:cubicBezTo>
                  <a:pt x="153715" y="2418217"/>
                  <a:pt x="156896" y="2426309"/>
                  <a:pt x="163259" y="2432895"/>
                </a:cubicBezTo>
                <a:cubicBezTo>
                  <a:pt x="169621" y="2439480"/>
                  <a:pt x="177490" y="2442773"/>
                  <a:pt x="186867" y="2442773"/>
                </a:cubicBezTo>
                <a:cubicBezTo>
                  <a:pt x="201824" y="2442773"/>
                  <a:pt x="223981" y="2440708"/>
                  <a:pt x="253337" y="2436578"/>
                </a:cubicBezTo>
                <a:cubicBezTo>
                  <a:pt x="282693" y="2432448"/>
                  <a:pt x="304738" y="2430383"/>
                  <a:pt x="319472" y="2430383"/>
                </a:cubicBezTo>
                <a:cubicBezTo>
                  <a:pt x="331974" y="2430383"/>
                  <a:pt x="350726" y="2430104"/>
                  <a:pt x="375729" y="2429546"/>
                </a:cubicBezTo>
                <a:cubicBezTo>
                  <a:pt x="400733" y="2428988"/>
                  <a:pt x="419485" y="2428709"/>
                  <a:pt x="431986" y="2428709"/>
                </a:cubicBezTo>
                <a:cubicBezTo>
                  <a:pt x="441363" y="2428709"/>
                  <a:pt x="449232" y="2425416"/>
                  <a:pt x="455594" y="2418830"/>
                </a:cubicBezTo>
                <a:cubicBezTo>
                  <a:pt x="461957" y="2412245"/>
                  <a:pt x="465138" y="2404041"/>
                  <a:pt x="465138" y="2394218"/>
                </a:cubicBezTo>
                <a:cubicBezTo>
                  <a:pt x="465138" y="2384619"/>
                  <a:pt x="461957" y="2376526"/>
                  <a:pt x="455594" y="2369940"/>
                </a:cubicBezTo>
                <a:cubicBezTo>
                  <a:pt x="449232" y="2363355"/>
                  <a:pt x="441363" y="2360062"/>
                  <a:pt x="431986" y="2360062"/>
                </a:cubicBezTo>
                <a:lnTo>
                  <a:pt x="326505" y="2361401"/>
                </a:lnTo>
                <a:cubicBezTo>
                  <a:pt x="328067" y="2344212"/>
                  <a:pt x="328849" y="2325125"/>
                  <a:pt x="328849" y="2304140"/>
                </a:cubicBezTo>
                <a:cubicBezTo>
                  <a:pt x="328849" y="2288513"/>
                  <a:pt x="328402" y="2269202"/>
                  <a:pt x="327509" y="2246208"/>
                </a:cubicBezTo>
                <a:cubicBezTo>
                  <a:pt x="326616" y="2223215"/>
                  <a:pt x="326170" y="2203904"/>
                  <a:pt x="326170" y="2188277"/>
                </a:cubicBezTo>
                <a:cubicBezTo>
                  <a:pt x="326170" y="2129118"/>
                  <a:pt x="328737" y="2067057"/>
                  <a:pt x="333871" y="2002093"/>
                </a:cubicBezTo>
                <a:lnTo>
                  <a:pt x="387785" y="2009125"/>
                </a:lnTo>
                <a:cubicBezTo>
                  <a:pt x="409439" y="2012027"/>
                  <a:pt x="427410" y="2013479"/>
                  <a:pt x="441697" y="2013479"/>
                </a:cubicBezTo>
                <a:cubicBezTo>
                  <a:pt x="450404" y="2013479"/>
                  <a:pt x="458106" y="2010911"/>
                  <a:pt x="464803" y="2005777"/>
                </a:cubicBezTo>
                <a:cubicBezTo>
                  <a:pt x="472393" y="1999526"/>
                  <a:pt x="476188" y="1991154"/>
                  <a:pt x="476188" y="1980662"/>
                </a:cubicBezTo>
                <a:cubicBezTo>
                  <a:pt x="476188" y="1959677"/>
                  <a:pt x="466254" y="1947734"/>
                  <a:pt x="446386" y="1944832"/>
                </a:cubicBezTo>
                <a:cubicBezTo>
                  <a:pt x="379413" y="1935232"/>
                  <a:pt x="323714" y="1930432"/>
                  <a:pt x="279289" y="1930432"/>
                </a:cubicBezTo>
                <a:close/>
                <a:moveTo>
                  <a:pt x="1716931" y="1903309"/>
                </a:moveTo>
                <a:cubicBezTo>
                  <a:pt x="1703983" y="1903309"/>
                  <a:pt x="1693826" y="1910117"/>
                  <a:pt x="1686459" y="1923735"/>
                </a:cubicBezTo>
                <a:cubicBezTo>
                  <a:pt x="1680878" y="1934451"/>
                  <a:pt x="1678087" y="1946506"/>
                  <a:pt x="1678087" y="1959900"/>
                </a:cubicBezTo>
                <a:cubicBezTo>
                  <a:pt x="1678087" y="1976420"/>
                  <a:pt x="1677975" y="2007395"/>
                  <a:pt x="1677752" y="2052825"/>
                </a:cubicBezTo>
                <a:cubicBezTo>
                  <a:pt x="1677529" y="2098255"/>
                  <a:pt x="1677417" y="2129118"/>
                  <a:pt x="1677417" y="2145415"/>
                </a:cubicBezTo>
                <a:cubicBezTo>
                  <a:pt x="1677417" y="2169078"/>
                  <a:pt x="1678031" y="2204518"/>
                  <a:pt x="1679259" y="2251734"/>
                </a:cubicBezTo>
                <a:cubicBezTo>
                  <a:pt x="1680487" y="2298949"/>
                  <a:pt x="1681101" y="2334389"/>
                  <a:pt x="1681101" y="2358053"/>
                </a:cubicBezTo>
                <a:cubicBezTo>
                  <a:pt x="1681101" y="2363857"/>
                  <a:pt x="1680822" y="2372452"/>
                  <a:pt x="1680264" y="2383837"/>
                </a:cubicBezTo>
                <a:cubicBezTo>
                  <a:pt x="1679706" y="2395223"/>
                  <a:pt x="1679426" y="2403817"/>
                  <a:pt x="1679426" y="2409622"/>
                </a:cubicBezTo>
                <a:cubicBezTo>
                  <a:pt x="1679426" y="2418551"/>
                  <a:pt x="1682384" y="2425974"/>
                  <a:pt x="1688300" y="2431890"/>
                </a:cubicBezTo>
                <a:cubicBezTo>
                  <a:pt x="1694216" y="2437806"/>
                  <a:pt x="1701416" y="2440764"/>
                  <a:pt x="1709899" y="2440764"/>
                </a:cubicBezTo>
                <a:cubicBezTo>
                  <a:pt x="1720168" y="2440764"/>
                  <a:pt x="1728875" y="2435406"/>
                  <a:pt x="1736018" y="2424691"/>
                </a:cubicBezTo>
                <a:cubicBezTo>
                  <a:pt x="1763924" y="2438085"/>
                  <a:pt x="1794954" y="2444782"/>
                  <a:pt x="1829110" y="2444782"/>
                </a:cubicBezTo>
                <a:cubicBezTo>
                  <a:pt x="1878000" y="2444782"/>
                  <a:pt x="1918854" y="2427035"/>
                  <a:pt x="1951670" y="2391539"/>
                </a:cubicBezTo>
                <a:cubicBezTo>
                  <a:pt x="1984487" y="2356044"/>
                  <a:pt x="2000895" y="2312846"/>
                  <a:pt x="2000895" y="2261947"/>
                </a:cubicBezTo>
                <a:cubicBezTo>
                  <a:pt x="2000895" y="2211494"/>
                  <a:pt x="1986831" y="2168967"/>
                  <a:pt x="1958702" y="2134364"/>
                </a:cubicBezTo>
                <a:cubicBezTo>
                  <a:pt x="1928788" y="2097529"/>
                  <a:pt x="1889832" y="2079112"/>
                  <a:pt x="1841835" y="2079112"/>
                </a:cubicBezTo>
                <a:cubicBezTo>
                  <a:pt x="1826431" y="2079112"/>
                  <a:pt x="1809967" y="2082405"/>
                  <a:pt x="1792443" y="2088990"/>
                </a:cubicBezTo>
                <a:cubicBezTo>
                  <a:pt x="1774918" y="2095576"/>
                  <a:pt x="1756445" y="2105454"/>
                  <a:pt x="1737023" y="2118626"/>
                </a:cubicBezTo>
                <a:lnTo>
                  <a:pt x="1737693" y="2033235"/>
                </a:lnTo>
                <a:lnTo>
                  <a:pt x="1738697" y="1959900"/>
                </a:lnTo>
                <a:cubicBezTo>
                  <a:pt x="1738697" y="1956775"/>
                  <a:pt x="1739255" y="1952199"/>
                  <a:pt x="1740372" y="1946171"/>
                </a:cubicBezTo>
                <a:cubicBezTo>
                  <a:pt x="1741488" y="1940143"/>
                  <a:pt x="1742046" y="1935567"/>
                  <a:pt x="1742046" y="1932442"/>
                </a:cubicBezTo>
                <a:cubicBezTo>
                  <a:pt x="1742046" y="1913020"/>
                  <a:pt x="1733674" y="1903309"/>
                  <a:pt x="1716931" y="1903309"/>
                </a:cubicBezTo>
                <a:close/>
                <a:moveTo>
                  <a:pt x="943806" y="1874845"/>
                </a:moveTo>
                <a:cubicBezTo>
                  <a:pt x="928626" y="1874845"/>
                  <a:pt x="918803" y="1883663"/>
                  <a:pt x="914338" y="1901299"/>
                </a:cubicBezTo>
                <a:cubicBezTo>
                  <a:pt x="912552" y="1909113"/>
                  <a:pt x="911660" y="1924182"/>
                  <a:pt x="911660" y="1946506"/>
                </a:cubicBezTo>
                <a:cubicBezTo>
                  <a:pt x="911660" y="1952757"/>
                  <a:pt x="912273" y="1962077"/>
                  <a:pt x="913501" y="1974467"/>
                </a:cubicBezTo>
                <a:cubicBezTo>
                  <a:pt x="914729" y="1986857"/>
                  <a:pt x="915343" y="1996177"/>
                  <a:pt x="915343" y="2002428"/>
                </a:cubicBezTo>
                <a:cubicBezTo>
                  <a:pt x="915343" y="2018501"/>
                  <a:pt x="916236" y="2029105"/>
                  <a:pt x="918022" y="2034240"/>
                </a:cubicBezTo>
                <a:cubicBezTo>
                  <a:pt x="921817" y="2044063"/>
                  <a:pt x="930635" y="2048974"/>
                  <a:pt x="944476" y="2048974"/>
                </a:cubicBezTo>
                <a:cubicBezTo>
                  <a:pt x="964568" y="2048974"/>
                  <a:pt x="974614" y="2034687"/>
                  <a:pt x="974614" y="2006112"/>
                </a:cubicBezTo>
                <a:cubicBezTo>
                  <a:pt x="974614" y="1999414"/>
                  <a:pt x="974056" y="1989480"/>
                  <a:pt x="972939" y="1976309"/>
                </a:cubicBezTo>
                <a:cubicBezTo>
                  <a:pt x="971823" y="1963137"/>
                  <a:pt x="971265" y="1953203"/>
                  <a:pt x="971265" y="1946506"/>
                </a:cubicBezTo>
                <a:cubicBezTo>
                  <a:pt x="971265" y="1941818"/>
                  <a:pt x="971712" y="1934730"/>
                  <a:pt x="972605" y="1925242"/>
                </a:cubicBezTo>
                <a:cubicBezTo>
                  <a:pt x="973498" y="1915754"/>
                  <a:pt x="973944" y="1908666"/>
                  <a:pt x="973944" y="1903978"/>
                </a:cubicBezTo>
                <a:cubicBezTo>
                  <a:pt x="973944" y="1895495"/>
                  <a:pt x="971042" y="1888519"/>
                  <a:pt x="965237" y="1883049"/>
                </a:cubicBezTo>
                <a:cubicBezTo>
                  <a:pt x="959433" y="1877580"/>
                  <a:pt x="952290" y="1874845"/>
                  <a:pt x="943806" y="1874845"/>
                </a:cubicBezTo>
                <a:close/>
                <a:moveTo>
                  <a:pt x="1041884" y="1248390"/>
                </a:moveTo>
                <a:cubicBezTo>
                  <a:pt x="1061530" y="1248390"/>
                  <a:pt x="1078384" y="1252911"/>
                  <a:pt x="1092448" y="1261952"/>
                </a:cubicBezTo>
                <a:cubicBezTo>
                  <a:pt x="1106513" y="1270994"/>
                  <a:pt x="1117787" y="1284556"/>
                  <a:pt x="1126270" y="1302638"/>
                </a:cubicBezTo>
                <a:lnTo>
                  <a:pt x="1125600" y="1342152"/>
                </a:lnTo>
                <a:lnTo>
                  <a:pt x="1125265" y="1380996"/>
                </a:lnTo>
                <a:lnTo>
                  <a:pt x="1126270" y="1438928"/>
                </a:lnTo>
                <a:cubicBezTo>
                  <a:pt x="1123145" y="1442946"/>
                  <a:pt x="1119908" y="1446406"/>
                  <a:pt x="1116559" y="1449308"/>
                </a:cubicBezTo>
                <a:cubicBezTo>
                  <a:pt x="1099369" y="1463819"/>
                  <a:pt x="1086979" y="1473084"/>
                  <a:pt x="1079389" y="1477102"/>
                </a:cubicBezTo>
                <a:cubicBezTo>
                  <a:pt x="1066441" y="1484022"/>
                  <a:pt x="1050591" y="1487483"/>
                  <a:pt x="1031838" y="1487483"/>
                </a:cubicBezTo>
                <a:cubicBezTo>
                  <a:pt x="1004379" y="1487483"/>
                  <a:pt x="980437" y="1477102"/>
                  <a:pt x="960010" y="1456340"/>
                </a:cubicBezTo>
                <a:cubicBezTo>
                  <a:pt x="939583" y="1435579"/>
                  <a:pt x="929370" y="1410799"/>
                  <a:pt x="929370" y="1382001"/>
                </a:cubicBezTo>
                <a:cubicBezTo>
                  <a:pt x="929370" y="1337352"/>
                  <a:pt x="938746" y="1303922"/>
                  <a:pt x="957499" y="1281709"/>
                </a:cubicBezTo>
                <a:cubicBezTo>
                  <a:pt x="976251" y="1259497"/>
                  <a:pt x="1004379" y="1248390"/>
                  <a:pt x="1041884" y="1248390"/>
                </a:cubicBezTo>
                <a:close/>
                <a:moveTo>
                  <a:pt x="331528" y="1245042"/>
                </a:moveTo>
                <a:cubicBezTo>
                  <a:pt x="335099" y="1245042"/>
                  <a:pt x="339843" y="1246046"/>
                  <a:pt x="345759" y="1248055"/>
                </a:cubicBezTo>
                <a:cubicBezTo>
                  <a:pt x="351675" y="1250065"/>
                  <a:pt x="358763" y="1253190"/>
                  <a:pt x="367023" y="1257432"/>
                </a:cubicBezTo>
                <a:cubicBezTo>
                  <a:pt x="364567" y="1270156"/>
                  <a:pt x="362726" y="1282156"/>
                  <a:pt x="361498" y="1293429"/>
                </a:cubicBezTo>
                <a:cubicBezTo>
                  <a:pt x="360270" y="1304703"/>
                  <a:pt x="359656" y="1315140"/>
                  <a:pt x="359656" y="1324739"/>
                </a:cubicBezTo>
                <a:cubicBezTo>
                  <a:pt x="359656" y="1354207"/>
                  <a:pt x="363228" y="1398521"/>
                  <a:pt x="370372" y="1457680"/>
                </a:cubicBezTo>
                <a:cubicBezTo>
                  <a:pt x="355861" y="1470405"/>
                  <a:pt x="344587" y="1478888"/>
                  <a:pt x="336550" y="1483130"/>
                </a:cubicBezTo>
                <a:cubicBezTo>
                  <a:pt x="321593" y="1490943"/>
                  <a:pt x="303399" y="1494850"/>
                  <a:pt x="281968" y="1494850"/>
                </a:cubicBezTo>
                <a:cubicBezTo>
                  <a:pt x="256072" y="1494850"/>
                  <a:pt x="236650" y="1485697"/>
                  <a:pt x="223702" y="1467391"/>
                </a:cubicBezTo>
                <a:cubicBezTo>
                  <a:pt x="210754" y="1449085"/>
                  <a:pt x="204280" y="1421626"/>
                  <a:pt x="204280" y="1385015"/>
                </a:cubicBezTo>
                <a:cubicBezTo>
                  <a:pt x="204280" y="1348180"/>
                  <a:pt x="216837" y="1315642"/>
                  <a:pt x="241952" y="1287402"/>
                </a:cubicBezTo>
                <a:cubicBezTo>
                  <a:pt x="267066" y="1259162"/>
                  <a:pt x="296925" y="1245042"/>
                  <a:pt x="331528" y="1245042"/>
                </a:cubicBezTo>
                <a:close/>
                <a:moveTo>
                  <a:pt x="327174" y="1185771"/>
                </a:moveTo>
                <a:cubicBezTo>
                  <a:pt x="275605" y="1185771"/>
                  <a:pt x="231236" y="1204970"/>
                  <a:pt x="194066" y="1243367"/>
                </a:cubicBezTo>
                <a:cubicBezTo>
                  <a:pt x="156896" y="1281765"/>
                  <a:pt x="138311" y="1327976"/>
                  <a:pt x="138311" y="1382001"/>
                </a:cubicBezTo>
                <a:cubicBezTo>
                  <a:pt x="138311" y="1439151"/>
                  <a:pt x="149585" y="1481567"/>
                  <a:pt x="172133" y="1509249"/>
                </a:cubicBezTo>
                <a:cubicBezTo>
                  <a:pt x="196019" y="1538717"/>
                  <a:pt x="234082" y="1553451"/>
                  <a:pt x="286321" y="1553451"/>
                </a:cubicBezTo>
                <a:cubicBezTo>
                  <a:pt x="297260" y="1553451"/>
                  <a:pt x="310878" y="1550493"/>
                  <a:pt x="327174" y="1544577"/>
                </a:cubicBezTo>
                <a:cubicBezTo>
                  <a:pt x="343471" y="1538661"/>
                  <a:pt x="362335" y="1529899"/>
                  <a:pt x="383766" y="1518290"/>
                </a:cubicBezTo>
                <a:cubicBezTo>
                  <a:pt x="388677" y="1525434"/>
                  <a:pt x="396156" y="1533582"/>
                  <a:pt x="406202" y="1542735"/>
                </a:cubicBezTo>
                <a:cubicBezTo>
                  <a:pt x="417364" y="1552558"/>
                  <a:pt x="425066" y="1557469"/>
                  <a:pt x="429308" y="1557469"/>
                </a:cubicBezTo>
                <a:cubicBezTo>
                  <a:pt x="437568" y="1557469"/>
                  <a:pt x="444823" y="1554567"/>
                  <a:pt x="451074" y="1548763"/>
                </a:cubicBezTo>
                <a:cubicBezTo>
                  <a:pt x="457325" y="1542958"/>
                  <a:pt x="460450" y="1535591"/>
                  <a:pt x="460450" y="1526662"/>
                </a:cubicBezTo>
                <a:lnTo>
                  <a:pt x="458441" y="1520969"/>
                </a:lnTo>
                <a:cubicBezTo>
                  <a:pt x="454869" y="1513156"/>
                  <a:pt x="452302" y="1507240"/>
                  <a:pt x="450739" y="1503221"/>
                </a:cubicBezTo>
                <a:cubicBezTo>
                  <a:pt x="438907" y="1473753"/>
                  <a:pt x="431875" y="1454108"/>
                  <a:pt x="429643" y="1444285"/>
                </a:cubicBezTo>
                <a:cubicBezTo>
                  <a:pt x="425624" y="1428212"/>
                  <a:pt x="423727" y="1406334"/>
                  <a:pt x="423950" y="1378652"/>
                </a:cubicBezTo>
                <a:cubicBezTo>
                  <a:pt x="424173" y="1348291"/>
                  <a:pt x="424899" y="1323400"/>
                  <a:pt x="426126" y="1303978"/>
                </a:cubicBezTo>
                <a:cubicBezTo>
                  <a:pt x="427354" y="1284556"/>
                  <a:pt x="429084" y="1270603"/>
                  <a:pt x="431317" y="1262120"/>
                </a:cubicBezTo>
                <a:cubicBezTo>
                  <a:pt x="435782" y="1257432"/>
                  <a:pt x="438014" y="1252074"/>
                  <a:pt x="438014" y="1246046"/>
                </a:cubicBezTo>
                <a:cubicBezTo>
                  <a:pt x="438014" y="1228410"/>
                  <a:pt x="422834" y="1213341"/>
                  <a:pt x="392473" y="1200840"/>
                </a:cubicBezTo>
                <a:cubicBezTo>
                  <a:pt x="368363" y="1190794"/>
                  <a:pt x="346596" y="1185771"/>
                  <a:pt x="327174" y="1185771"/>
                </a:cubicBezTo>
                <a:close/>
                <a:moveTo>
                  <a:pt x="555700" y="1169697"/>
                </a:moveTo>
                <a:cubicBezTo>
                  <a:pt x="546324" y="1169697"/>
                  <a:pt x="538454" y="1172767"/>
                  <a:pt x="532092" y="1178906"/>
                </a:cubicBezTo>
                <a:cubicBezTo>
                  <a:pt x="525730" y="1185045"/>
                  <a:pt x="522548" y="1192915"/>
                  <a:pt x="522548" y="1202514"/>
                </a:cubicBezTo>
                <a:cubicBezTo>
                  <a:pt x="522548" y="1209658"/>
                  <a:pt x="522939" y="1220262"/>
                  <a:pt x="523720" y="1234326"/>
                </a:cubicBezTo>
                <a:cubicBezTo>
                  <a:pt x="524502" y="1248390"/>
                  <a:pt x="524893" y="1258994"/>
                  <a:pt x="524893" y="1266138"/>
                </a:cubicBezTo>
                <a:cubicBezTo>
                  <a:pt x="524893" y="1289132"/>
                  <a:pt x="523274" y="1321000"/>
                  <a:pt x="520037" y="1361742"/>
                </a:cubicBezTo>
                <a:cubicBezTo>
                  <a:pt x="516800" y="1402483"/>
                  <a:pt x="515181" y="1434351"/>
                  <a:pt x="515181" y="1457345"/>
                </a:cubicBezTo>
                <a:cubicBezTo>
                  <a:pt x="515181" y="1464042"/>
                  <a:pt x="515907" y="1474088"/>
                  <a:pt x="517358" y="1487483"/>
                </a:cubicBezTo>
                <a:cubicBezTo>
                  <a:pt x="518809" y="1500877"/>
                  <a:pt x="519535" y="1510923"/>
                  <a:pt x="519535" y="1517620"/>
                </a:cubicBezTo>
                <a:cubicBezTo>
                  <a:pt x="519535" y="1527666"/>
                  <a:pt x="522548" y="1535815"/>
                  <a:pt x="528576" y="1542065"/>
                </a:cubicBezTo>
                <a:cubicBezTo>
                  <a:pt x="534604" y="1548316"/>
                  <a:pt x="542529" y="1551442"/>
                  <a:pt x="552351" y="1551442"/>
                </a:cubicBezTo>
                <a:cubicBezTo>
                  <a:pt x="561951" y="1551442"/>
                  <a:pt x="569820" y="1548316"/>
                  <a:pt x="575959" y="1542065"/>
                </a:cubicBezTo>
                <a:cubicBezTo>
                  <a:pt x="582099" y="1535815"/>
                  <a:pt x="585168" y="1527666"/>
                  <a:pt x="585168" y="1517620"/>
                </a:cubicBezTo>
                <a:cubicBezTo>
                  <a:pt x="585168" y="1510923"/>
                  <a:pt x="584498" y="1500877"/>
                  <a:pt x="583159" y="1487483"/>
                </a:cubicBezTo>
                <a:cubicBezTo>
                  <a:pt x="581820" y="1474088"/>
                  <a:pt x="581150" y="1464042"/>
                  <a:pt x="581150" y="1457345"/>
                </a:cubicBezTo>
                <a:cubicBezTo>
                  <a:pt x="581150" y="1446853"/>
                  <a:pt x="581820" y="1436025"/>
                  <a:pt x="583159" y="1424863"/>
                </a:cubicBezTo>
                <a:cubicBezTo>
                  <a:pt x="584721" y="1411692"/>
                  <a:pt x="585726" y="1400753"/>
                  <a:pt x="586172" y="1392047"/>
                </a:cubicBezTo>
                <a:cubicBezTo>
                  <a:pt x="597781" y="1350747"/>
                  <a:pt x="613855" y="1316591"/>
                  <a:pt x="634393" y="1289579"/>
                </a:cubicBezTo>
                <a:cubicBezTo>
                  <a:pt x="657163" y="1259887"/>
                  <a:pt x="681051" y="1245042"/>
                  <a:pt x="706053" y="1245042"/>
                </a:cubicBezTo>
                <a:cubicBezTo>
                  <a:pt x="723913" y="1245042"/>
                  <a:pt x="732843" y="1269152"/>
                  <a:pt x="732843" y="1317372"/>
                </a:cubicBezTo>
                <a:cubicBezTo>
                  <a:pt x="732843" y="1323623"/>
                  <a:pt x="732452" y="1334227"/>
                  <a:pt x="731671" y="1349184"/>
                </a:cubicBezTo>
                <a:cubicBezTo>
                  <a:pt x="730889" y="1364141"/>
                  <a:pt x="730498" y="1374745"/>
                  <a:pt x="730498" y="1380996"/>
                </a:cubicBezTo>
                <a:cubicBezTo>
                  <a:pt x="730498" y="1403767"/>
                  <a:pt x="732061" y="1428212"/>
                  <a:pt x="735187" y="1454331"/>
                </a:cubicBezTo>
                <a:lnTo>
                  <a:pt x="744563" y="1527666"/>
                </a:lnTo>
                <a:cubicBezTo>
                  <a:pt x="747019" y="1548651"/>
                  <a:pt x="757846" y="1559143"/>
                  <a:pt x="777045" y="1559143"/>
                </a:cubicBezTo>
                <a:cubicBezTo>
                  <a:pt x="786644" y="1559143"/>
                  <a:pt x="794625" y="1556074"/>
                  <a:pt x="800987" y="1549935"/>
                </a:cubicBezTo>
                <a:cubicBezTo>
                  <a:pt x="807350" y="1543796"/>
                  <a:pt x="810531" y="1535815"/>
                  <a:pt x="810531" y="1525992"/>
                </a:cubicBezTo>
                <a:cubicBezTo>
                  <a:pt x="810531" y="1507686"/>
                  <a:pt x="808131" y="1483855"/>
                  <a:pt x="803331" y="1454499"/>
                </a:cubicBezTo>
                <a:cubicBezTo>
                  <a:pt x="798532" y="1425142"/>
                  <a:pt x="796132" y="1401200"/>
                  <a:pt x="796132" y="1382671"/>
                </a:cubicBezTo>
                <a:lnTo>
                  <a:pt x="796467" y="1351528"/>
                </a:lnTo>
                <a:lnTo>
                  <a:pt x="796467" y="1317707"/>
                </a:lnTo>
                <a:cubicBezTo>
                  <a:pt x="795574" y="1276630"/>
                  <a:pt x="790328" y="1245600"/>
                  <a:pt x="780728" y="1224615"/>
                </a:cubicBezTo>
                <a:cubicBezTo>
                  <a:pt x="766664" y="1193138"/>
                  <a:pt x="741773" y="1177399"/>
                  <a:pt x="706053" y="1177399"/>
                </a:cubicBezTo>
                <a:cubicBezTo>
                  <a:pt x="666540" y="1177399"/>
                  <a:pt x="628031" y="1202402"/>
                  <a:pt x="590526" y="1252409"/>
                </a:cubicBezTo>
                <a:lnTo>
                  <a:pt x="589521" y="1213230"/>
                </a:lnTo>
                <a:cubicBezTo>
                  <a:pt x="587512" y="1184208"/>
                  <a:pt x="576238" y="1169697"/>
                  <a:pt x="555700" y="1169697"/>
                </a:cubicBezTo>
                <a:close/>
                <a:moveTo>
                  <a:pt x="1173486" y="1001596"/>
                </a:moveTo>
                <a:cubicBezTo>
                  <a:pt x="1156073" y="1001596"/>
                  <a:pt x="1145915" y="1011530"/>
                  <a:pt x="1143013" y="1031399"/>
                </a:cubicBezTo>
                <a:cubicBezTo>
                  <a:pt x="1138771" y="1063992"/>
                  <a:pt x="1135088" y="1127281"/>
                  <a:pt x="1131962" y="1221266"/>
                </a:cubicBezTo>
                <a:lnTo>
                  <a:pt x="1100485" y="1198161"/>
                </a:lnTo>
                <a:cubicBezTo>
                  <a:pt x="1086421" y="1190124"/>
                  <a:pt x="1066441" y="1186106"/>
                  <a:pt x="1040545" y="1186106"/>
                </a:cubicBezTo>
                <a:cubicBezTo>
                  <a:pt x="990092" y="1186106"/>
                  <a:pt x="949071" y="1204077"/>
                  <a:pt x="917482" y="1240019"/>
                </a:cubicBezTo>
                <a:cubicBezTo>
                  <a:pt x="885894" y="1275961"/>
                  <a:pt x="870099" y="1323735"/>
                  <a:pt x="870099" y="1383340"/>
                </a:cubicBezTo>
                <a:cubicBezTo>
                  <a:pt x="870099" y="1432677"/>
                  <a:pt x="885726" y="1473084"/>
                  <a:pt x="916980" y="1504561"/>
                </a:cubicBezTo>
                <a:cubicBezTo>
                  <a:pt x="947341" y="1535368"/>
                  <a:pt x="985627" y="1550772"/>
                  <a:pt x="1031838" y="1550772"/>
                </a:cubicBezTo>
                <a:cubicBezTo>
                  <a:pt x="1050591" y="1550772"/>
                  <a:pt x="1068618" y="1547758"/>
                  <a:pt x="1085919" y="1541731"/>
                </a:cubicBezTo>
                <a:cubicBezTo>
                  <a:pt x="1103220" y="1535703"/>
                  <a:pt x="1119908" y="1526773"/>
                  <a:pt x="1135981" y="1514942"/>
                </a:cubicBezTo>
                <a:cubicBezTo>
                  <a:pt x="1142455" y="1535033"/>
                  <a:pt x="1152612" y="1545079"/>
                  <a:pt x="1166453" y="1545079"/>
                </a:cubicBezTo>
                <a:cubicBezTo>
                  <a:pt x="1174713" y="1545079"/>
                  <a:pt x="1181969" y="1542177"/>
                  <a:pt x="1188219" y="1536373"/>
                </a:cubicBezTo>
                <a:cubicBezTo>
                  <a:pt x="1194470" y="1530568"/>
                  <a:pt x="1197596" y="1523201"/>
                  <a:pt x="1197596" y="1514272"/>
                </a:cubicBezTo>
                <a:cubicBezTo>
                  <a:pt x="1197596" y="1512263"/>
                  <a:pt x="1197372" y="1509695"/>
                  <a:pt x="1196926" y="1506570"/>
                </a:cubicBezTo>
                <a:cubicBezTo>
                  <a:pt x="1190005" y="1468619"/>
                  <a:pt x="1186545" y="1412473"/>
                  <a:pt x="1186545" y="1338134"/>
                </a:cubicBezTo>
                <a:cubicBezTo>
                  <a:pt x="1186545" y="1305317"/>
                  <a:pt x="1187885" y="1272501"/>
                  <a:pt x="1190564" y="1239684"/>
                </a:cubicBezTo>
                <a:cubicBezTo>
                  <a:pt x="1199493" y="1133644"/>
                  <a:pt x="1203958" y="1065108"/>
                  <a:pt x="1203958" y="1034078"/>
                </a:cubicBezTo>
                <a:cubicBezTo>
                  <a:pt x="1203958" y="1012423"/>
                  <a:pt x="1193801" y="1001596"/>
                  <a:pt x="1173486" y="1001596"/>
                </a:cubicBezTo>
                <a:close/>
                <a:moveTo>
                  <a:pt x="1164072" y="659143"/>
                </a:moveTo>
                <a:cubicBezTo>
                  <a:pt x="1154473" y="659143"/>
                  <a:pt x="1146771" y="664500"/>
                  <a:pt x="1140967" y="675216"/>
                </a:cubicBezTo>
                <a:cubicBezTo>
                  <a:pt x="1134493" y="687048"/>
                  <a:pt x="1125228" y="706805"/>
                  <a:pt x="1113173" y="734487"/>
                </a:cubicBezTo>
                <a:cubicBezTo>
                  <a:pt x="1099332" y="766410"/>
                  <a:pt x="1092411" y="785609"/>
                  <a:pt x="1092411" y="792083"/>
                </a:cubicBezTo>
                <a:cubicBezTo>
                  <a:pt x="1092411" y="799897"/>
                  <a:pt x="1095314" y="806817"/>
                  <a:pt x="1101118" y="812845"/>
                </a:cubicBezTo>
                <a:cubicBezTo>
                  <a:pt x="1106922" y="818872"/>
                  <a:pt x="1113731" y="821886"/>
                  <a:pt x="1121545" y="821886"/>
                </a:cubicBezTo>
                <a:cubicBezTo>
                  <a:pt x="1132483" y="821886"/>
                  <a:pt x="1140520" y="815859"/>
                  <a:pt x="1145655" y="803804"/>
                </a:cubicBezTo>
                <a:cubicBezTo>
                  <a:pt x="1177355" y="732812"/>
                  <a:pt x="1193205" y="694638"/>
                  <a:pt x="1193205" y="689280"/>
                </a:cubicBezTo>
                <a:cubicBezTo>
                  <a:pt x="1193205" y="681467"/>
                  <a:pt x="1190359" y="674490"/>
                  <a:pt x="1184666" y="668351"/>
                </a:cubicBezTo>
                <a:cubicBezTo>
                  <a:pt x="1178974" y="662212"/>
                  <a:pt x="1172109" y="659143"/>
                  <a:pt x="1164072" y="659143"/>
                </a:cubicBezTo>
                <a:close/>
                <a:moveTo>
                  <a:pt x="4132970" y="427417"/>
                </a:moveTo>
                <a:cubicBezTo>
                  <a:pt x="4182753" y="427640"/>
                  <a:pt x="4206081" y="470949"/>
                  <a:pt x="4202956" y="557344"/>
                </a:cubicBezTo>
                <a:cubicBezTo>
                  <a:pt x="4201840" y="589268"/>
                  <a:pt x="4191794" y="614606"/>
                  <a:pt x="4172818" y="633358"/>
                </a:cubicBezTo>
                <a:cubicBezTo>
                  <a:pt x="4156075" y="650325"/>
                  <a:pt x="4136095" y="658808"/>
                  <a:pt x="4112878" y="658808"/>
                </a:cubicBezTo>
                <a:cubicBezTo>
                  <a:pt x="4093009" y="658808"/>
                  <a:pt x="4075708" y="651329"/>
                  <a:pt x="4060974" y="636372"/>
                </a:cubicBezTo>
                <a:cubicBezTo>
                  <a:pt x="4043338" y="618289"/>
                  <a:pt x="4034520" y="593063"/>
                  <a:pt x="4034520" y="560693"/>
                </a:cubicBezTo>
                <a:cubicBezTo>
                  <a:pt x="4034520" y="528323"/>
                  <a:pt x="4041775" y="499524"/>
                  <a:pt x="4056286" y="474298"/>
                </a:cubicBezTo>
                <a:cubicBezTo>
                  <a:pt x="4074592" y="442821"/>
                  <a:pt x="4100153" y="427194"/>
                  <a:pt x="4132970" y="427417"/>
                </a:cubicBezTo>
                <a:close/>
                <a:moveTo>
                  <a:pt x="3284277" y="416367"/>
                </a:moveTo>
                <a:cubicBezTo>
                  <a:pt x="3287849" y="416367"/>
                  <a:pt x="3292593" y="417371"/>
                  <a:pt x="3298509" y="419380"/>
                </a:cubicBezTo>
                <a:cubicBezTo>
                  <a:pt x="3304425" y="421390"/>
                  <a:pt x="3311513" y="424515"/>
                  <a:pt x="3319773" y="428757"/>
                </a:cubicBezTo>
                <a:cubicBezTo>
                  <a:pt x="3317317" y="441481"/>
                  <a:pt x="3315475" y="453481"/>
                  <a:pt x="3314248" y="464754"/>
                </a:cubicBezTo>
                <a:cubicBezTo>
                  <a:pt x="3313020" y="476028"/>
                  <a:pt x="3312406" y="486465"/>
                  <a:pt x="3312406" y="496064"/>
                </a:cubicBezTo>
                <a:cubicBezTo>
                  <a:pt x="3312406" y="525532"/>
                  <a:pt x="3315978" y="569846"/>
                  <a:pt x="3323121" y="629005"/>
                </a:cubicBezTo>
                <a:cubicBezTo>
                  <a:pt x="3308611" y="641730"/>
                  <a:pt x="3297337" y="650213"/>
                  <a:pt x="3289300" y="654454"/>
                </a:cubicBezTo>
                <a:cubicBezTo>
                  <a:pt x="3274343" y="662268"/>
                  <a:pt x="3256149" y="666175"/>
                  <a:pt x="3234718" y="666175"/>
                </a:cubicBezTo>
                <a:cubicBezTo>
                  <a:pt x="3208821" y="666175"/>
                  <a:pt x="3189399" y="657022"/>
                  <a:pt x="3176451" y="638716"/>
                </a:cubicBezTo>
                <a:cubicBezTo>
                  <a:pt x="3163503" y="620410"/>
                  <a:pt x="3157029" y="592951"/>
                  <a:pt x="3157029" y="556340"/>
                </a:cubicBezTo>
                <a:cubicBezTo>
                  <a:pt x="3157029" y="519505"/>
                  <a:pt x="3169587" y="486967"/>
                  <a:pt x="3194701" y="458727"/>
                </a:cubicBezTo>
                <a:cubicBezTo>
                  <a:pt x="3219816" y="430487"/>
                  <a:pt x="3249675" y="416367"/>
                  <a:pt x="3284277" y="416367"/>
                </a:cubicBezTo>
                <a:close/>
                <a:moveTo>
                  <a:pt x="935063" y="363793"/>
                </a:moveTo>
                <a:cubicBezTo>
                  <a:pt x="925464" y="363793"/>
                  <a:pt x="917594" y="366919"/>
                  <a:pt x="911455" y="373169"/>
                </a:cubicBezTo>
                <a:cubicBezTo>
                  <a:pt x="905316" y="379420"/>
                  <a:pt x="902246" y="387568"/>
                  <a:pt x="902246" y="397614"/>
                </a:cubicBezTo>
                <a:cubicBezTo>
                  <a:pt x="902246" y="418599"/>
                  <a:pt x="901130" y="444774"/>
                  <a:pt x="898897" y="476140"/>
                </a:cubicBezTo>
                <a:cubicBezTo>
                  <a:pt x="896665" y="507505"/>
                  <a:pt x="895549" y="533680"/>
                  <a:pt x="895549" y="554665"/>
                </a:cubicBezTo>
                <a:cubicBezTo>
                  <a:pt x="895549" y="568060"/>
                  <a:pt x="895940" y="588096"/>
                  <a:pt x="896721" y="614773"/>
                </a:cubicBezTo>
                <a:cubicBezTo>
                  <a:pt x="897502" y="641451"/>
                  <a:pt x="897893" y="661487"/>
                  <a:pt x="897893" y="674881"/>
                </a:cubicBezTo>
                <a:cubicBezTo>
                  <a:pt x="897893" y="684704"/>
                  <a:pt x="900963" y="692741"/>
                  <a:pt x="907102" y="698991"/>
                </a:cubicBezTo>
                <a:cubicBezTo>
                  <a:pt x="913241" y="705242"/>
                  <a:pt x="921110" y="708367"/>
                  <a:pt x="930710" y="708367"/>
                </a:cubicBezTo>
                <a:cubicBezTo>
                  <a:pt x="940532" y="708367"/>
                  <a:pt x="948457" y="705242"/>
                  <a:pt x="954485" y="698991"/>
                </a:cubicBezTo>
                <a:cubicBezTo>
                  <a:pt x="960513" y="692741"/>
                  <a:pt x="963526" y="684704"/>
                  <a:pt x="963526" y="674881"/>
                </a:cubicBezTo>
                <a:cubicBezTo>
                  <a:pt x="963526" y="661487"/>
                  <a:pt x="963136" y="641451"/>
                  <a:pt x="962354" y="614773"/>
                </a:cubicBezTo>
                <a:cubicBezTo>
                  <a:pt x="961573" y="588096"/>
                  <a:pt x="961182" y="568060"/>
                  <a:pt x="961182" y="554665"/>
                </a:cubicBezTo>
                <a:cubicBezTo>
                  <a:pt x="961182" y="533680"/>
                  <a:pt x="962298" y="507505"/>
                  <a:pt x="964531" y="476140"/>
                </a:cubicBezTo>
                <a:cubicBezTo>
                  <a:pt x="966763" y="444774"/>
                  <a:pt x="967879" y="418599"/>
                  <a:pt x="967879" y="397614"/>
                </a:cubicBezTo>
                <a:cubicBezTo>
                  <a:pt x="967879" y="387568"/>
                  <a:pt x="964810" y="379420"/>
                  <a:pt x="958671" y="373169"/>
                </a:cubicBezTo>
                <a:cubicBezTo>
                  <a:pt x="952532" y="366919"/>
                  <a:pt x="944662" y="363793"/>
                  <a:pt x="935063" y="363793"/>
                </a:cubicBezTo>
                <a:close/>
                <a:moveTo>
                  <a:pt x="744563" y="363793"/>
                </a:moveTo>
                <a:cubicBezTo>
                  <a:pt x="734963" y="363793"/>
                  <a:pt x="727094" y="366919"/>
                  <a:pt x="720955" y="373169"/>
                </a:cubicBezTo>
                <a:cubicBezTo>
                  <a:pt x="714816" y="379420"/>
                  <a:pt x="711746" y="387568"/>
                  <a:pt x="711746" y="397614"/>
                </a:cubicBezTo>
                <a:cubicBezTo>
                  <a:pt x="711746" y="418599"/>
                  <a:pt x="710630" y="444774"/>
                  <a:pt x="708398" y="476140"/>
                </a:cubicBezTo>
                <a:cubicBezTo>
                  <a:pt x="706165" y="507505"/>
                  <a:pt x="705049" y="533680"/>
                  <a:pt x="705049" y="554665"/>
                </a:cubicBezTo>
                <a:cubicBezTo>
                  <a:pt x="705049" y="568060"/>
                  <a:pt x="705440" y="588096"/>
                  <a:pt x="706221" y="614773"/>
                </a:cubicBezTo>
                <a:cubicBezTo>
                  <a:pt x="707003" y="641451"/>
                  <a:pt x="707393" y="661487"/>
                  <a:pt x="707393" y="674881"/>
                </a:cubicBezTo>
                <a:cubicBezTo>
                  <a:pt x="707393" y="684704"/>
                  <a:pt x="710462" y="692741"/>
                  <a:pt x="716602" y="698991"/>
                </a:cubicBezTo>
                <a:cubicBezTo>
                  <a:pt x="722741" y="705242"/>
                  <a:pt x="730610" y="708367"/>
                  <a:pt x="740210" y="708367"/>
                </a:cubicBezTo>
                <a:cubicBezTo>
                  <a:pt x="750032" y="708367"/>
                  <a:pt x="757957" y="705242"/>
                  <a:pt x="763985" y="698991"/>
                </a:cubicBezTo>
                <a:cubicBezTo>
                  <a:pt x="770012" y="692741"/>
                  <a:pt x="773026" y="684704"/>
                  <a:pt x="773026" y="674881"/>
                </a:cubicBezTo>
                <a:cubicBezTo>
                  <a:pt x="773026" y="661487"/>
                  <a:pt x="772636" y="641451"/>
                  <a:pt x="771854" y="614773"/>
                </a:cubicBezTo>
                <a:cubicBezTo>
                  <a:pt x="771073" y="588096"/>
                  <a:pt x="770682" y="568060"/>
                  <a:pt x="770682" y="554665"/>
                </a:cubicBezTo>
                <a:cubicBezTo>
                  <a:pt x="770682" y="533680"/>
                  <a:pt x="771799" y="507505"/>
                  <a:pt x="774031" y="476140"/>
                </a:cubicBezTo>
                <a:cubicBezTo>
                  <a:pt x="776263" y="444774"/>
                  <a:pt x="777379" y="418599"/>
                  <a:pt x="777379" y="397614"/>
                </a:cubicBezTo>
                <a:cubicBezTo>
                  <a:pt x="777379" y="387568"/>
                  <a:pt x="774310" y="379420"/>
                  <a:pt x="768171" y="373169"/>
                </a:cubicBezTo>
                <a:cubicBezTo>
                  <a:pt x="762032" y="366919"/>
                  <a:pt x="754162" y="363793"/>
                  <a:pt x="744563" y="363793"/>
                </a:cubicBezTo>
                <a:close/>
                <a:moveTo>
                  <a:pt x="4137323" y="359440"/>
                </a:moveTo>
                <a:cubicBezTo>
                  <a:pt x="4081512" y="359440"/>
                  <a:pt x="4037980" y="382099"/>
                  <a:pt x="4006726" y="427417"/>
                </a:cubicBezTo>
                <a:cubicBezTo>
                  <a:pt x="3979937" y="465815"/>
                  <a:pt x="3967212" y="510240"/>
                  <a:pt x="3968552" y="560693"/>
                </a:cubicBezTo>
                <a:cubicBezTo>
                  <a:pt x="3970114" y="612708"/>
                  <a:pt x="3985965" y="654120"/>
                  <a:pt x="4016102" y="684927"/>
                </a:cubicBezTo>
                <a:cubicBezTo>
                  <a:pt x="4043115" y="712609"/>
                  <a:pt x="4075373" y="726450"/>
                  <a:pt x="4112878" y="726450"/>
                </a:cubicBezTo>
                <a:cubicBezTo>
                  <a:pt x="4159982" y="726450"/>
                  <a:pt x="4197822" y="706582"/>
                  <a:pt x="4226397" y="666844"/>
                </a:cubicBezTo>
                <a:cubicBezTo>
                  <a:pt x="4251623" y="631795"/>
                  <a:pt x="4264571" y="589491"/>
                  <a:pt x="4265241" y="539931"/>
                </a:cubicBezTo>
                <a:cubicBezTo>
                  <a:pt x="4265910" y="493497"/>
                  <a:pt x="4257092" y="453760"/>
                  <a:pt x="4238786" y="420720"/>
                </a:cubicBezTo>
                <a:cubicBezTo>
                  <a:pt x="4215793" y="379867"/>
                  <a:pt x="4181971" y="359440"/>
                  <a:pt x="4137323" y="359440"/>
                </a:cubicBezTo>
                <a:close/>
                <a:moveTo>
                  <a:pt x="3279924" y="357096"/>
                </a:moveTo>
                <a:cubicBezTo>
                  <a:pt x="3228355" y="357096"/>
                  <a:pt x="3183986" y="376295"/>
                  <a:pt x="3146816" y="414692"/>
                </a:cubicBezTo>
                <a:cubicBezTo>
                  <a:pt x="3109646" y="453090"/>
                  <a:pt x="3091061" y="499301"/>
                  <a:pt x="3091061" y="553326"/>
                </a:cubicBezTo>
                <a:cubicBezTo>
                  <a:pt x="3091061" y="610476"/>
                  <a:pt x="3102335" y="652892"/>
                  <a:pt x="3124882" y="680574"/>
                </a:cubicBezTo>
                <a:cubicBezTo>
                  <a:pt x="3148769" y="710042"/>
                  <a:pt x="3186832" y="724776"/>
                  <a:pt x="3239071" y="724776"/>
                </a:cubicBezTo>
                <a:cubicBezTo>
                  <a:pt x="3250010" y="724776"/>
                  <a:pt x="3263627" y="721818"/>
                  <a:pt x="3279924" y="715902"/>
                </a:cubicBezTo>
                <a:cubicBezTo>
                  <a:pt x="3296221" y="709986"/>
                  <a:pt x="3315085" y="701224"/>
                  <a:pt x="3336516" y="689615"/>
                </a:cubicBezTo>
                <a:cubicBezTo>
                  <a:pt x="3341427" y="696759"/>
                  <a:pt x="3348906" y="704907"/>
                  <a:pt x="3358952" y="714060"/>
                </a:cubicBezTo>
                <a:cubicBezTo>
                  <a:pt x="3370114" y="723883"/>
                  <a:pt x="3377816" y="728794"/>
                  <a:pt x="3382057" y="728794"/>
                </a:cubicBezTo>
                <a:cubicBezTo>
                  <a:pt x="3390317" y="728794"/>
                  <a:pt x="3397573" y="725892"/>
                  <a:pt x="3403823" y="720088"/>
                </a:cubicBezTo>
                <a:cubicBezTo>
                  <a:pt x="3410074" y="714283"/>
                  <a:pt x="3413200" y="706916"/>
                  <a:pt x="3413200" y="697987"/>
                </a:cubicBezTo>
                <a:lnTo>
                  <a:pt x="3411190" y="692294"/>
                </a:lnTo>
                <a:cubicBezTo>
                  <a:pt x="3407619" y="684481"/>
                  <a:pt x="3405051" y="678565"/>
                  <a:pt x="3403489" y="674546"/>
                </a:cubicBezTo>
                <a:cubicBezTo>
                  <a:pt x="3391657" y="645078"/>
                  <a:pt x="3384625" y="625433"/>
                  <a:pt x="3382392" y="615610"/>
                </a:cubicBezTo>
                <a:cubicBezTo>
                  <a:pt x="3378374" y="599537"/>
                  <a:pt x="3376476" y="577659"/>
                  <a:pt x="3376700" y="549977"/>
                </a:cubicBezTo>
                <a:cubicBezTo>
                  <a:pt x="3376923" y="519616"/>
                  <a:pt x="3377648" y="494725"/>
                  <a:pt x="3378876" y="475303"/>
                </a:cubicBezTo>
                <a:cubicBezTo>
                  <a:pt x="3380104" y="455881"/>
                  <a:pt x="3381834" y="441928"/>
                  <a:pt x="3384067" y="433445"/>
                </a:cubicBezTo>
                <a:cubicBezTo>
                  <a:pt x="3388531" y="428757"/>
                  <a:pt x="3390764" y="423399"/>
                  <a:pt x="3390764" y="417371"/>
                </a:cubicBezTo>
                <a:cubicBezTo>
                  <a:pt x="3390764" y="399735"/>
                  <a:pt x="3375583" y="384666"/>
                  <a:pt x="3345222" y="372165"/>
                </a:cubicBezTo>
                <a:cubicBezTo>
                  <a:pt x="3321112" y="362119"/>
                  <a:pt x="3299346" y="357096"/>
                  <a:pt x="3279924" y="357096"/>
                </a:cubicBezTo>
                <a:close/>
                <a:moveTo>
                  <a:pt x="3679900" y="353747"/>
                </a:moveTo>
                <a:cubicBezTo>
                  <a:pt x="3627661" y="353747"/>
                  <a:pt x="3580110" y="374397"/>
                  <a:pt x="3537248" y="415697"/>
                </a:cubicBezTo>
                <a:cubicBezTo>
                  <a:pt x="3537025" y="378639"/>
                  <a:pt x="3525974" y="360110"/>
                  <a:pt x="3504096" y="360110"/>
                </a:cubicBezTo>
                <a:cubicBezTo>
                  <a:pt x="3484451" y="360110"/>
                  <a:pt x="3474628" y="371383"/>
                  <a:pt x="3474628" y="393931"/>
                </a:cubicBezTo>
                <a:cubicBezTo>
                  <a:pt x="3474628" y="401298"/>
                  <a:pt x="3474349" y="412348"/>
                  <a:pt x="3473791" y="427082"/>
                </a:cubicBezTo>
                <a:cubicBezTo>
                  <a:pt x="3473233" y="441816"/>
                  <a:pt x="3472954" y="452867"/>
                  <a:pt x="3472954" y="460234"/>
                </a:cubicBezTo>
                <a:lnTo>
                  <a:pt x="3472954" y="695308"/>
                </a:lnTo>
                <a:cubicBezTo>
                  <a:pt x="3472954" y="717855"/>
                  <a:pt x="3482777" y="729129"/>
                  <a:pt x="3502422" y="729129"/>
                </a:cubicBezTo>
                <a:cubicBezTo>
                  <a:pt x="3524523" y="729129"/>
                  <a:pt x="3535574" y="717855"/>
                  <a:pt x="3535574" y="695308"/>
                </a:cubicBezTo>
                <a:lnTo>
                  <a:pt x="3534904" y="511803"/>
                </a:lnTo>
                <a:cubicBezTo>
                  <a:pt x="3548075" y="482558"/>
                  <a:pt x="3564595" y="460680"/>
                  <a:pt x="3584464" y="446170"/>
                </a:cubicBezTo>
                <a:cubicBezTo>
                  <a:pt x="3605672" y="430543"/>
                  <a:pt x="3633912" y="420608"/>
                  <a:pt x="3669184" y="416367"/>
                </a:cubicBezTo>
                <a:lnTo>
                  <a:pt x="3670189" y="444495"/>
                </a:lnTo>
                <a:cubicBezTo>
                  <a:pt x="3670858" y="455881"/>
                  <a:pt x="3671193" y="463694"/>
                  <a:pt x="3671193" y="467936"/>
                </a:cubicBezTo>
                <a:cubicBezTo>
                  <a:pt x="3671193" y="490037"/>
                  <a:pt x="3680793" y="501087"/>
                  <a:pt x="3699991" y="501087"/>
                </a:cubicBezTo>
                <a:cubicBezTo>
                  <a:pt x="3720753" y="501087"/>
                  <a:pt x="3731915" y="487134"/>
                  <a:pt x="3733478" y="459229"/>
                </a:cubicBezTo>
                <a:cubicBezTo>
                  <a:pt x="3733701" y="455211"/>
                  <a:pt x="3733813" y="447397"/>
                  <a:pt x="3733813" y="435789"/>
                </a:cubicBezTo>
                <a:cubicBezTo>
                  <a:pt x="3733813" y="408330"/>
                  <a:pt x="3729348" y="387792"/>
                  <a:pt x="3720418" y="374174"/>
                </a:cubicBezTo>
                <a:cubicBezTo>
                  <a:pt x="3711488" y="360556"/>
                  <a:pt x="3697982" y="353747"/>
                  <a:pt x="3679900" y="353747"/>
                </a:cubicBezTo>
                <a:close/>
                <a:moveTo>
                  <a:pt x="1997137" y="334995"/>
                </a:moveTo>
                <a:cubicBezTo>
                  <a:pt x="1974367" y="334995"/>
                  <a:pt x="1962981" y="360333"/>
                  <a:pt x="1962981" y="411009"/>
                </a:cubicBezTo>
                <a:cubicBezTo>
                  <a:pt x="1962981" y="423064"/>
                  <a:pt x="1964042" y="440923"/>
                  <a:pt x="1966163" y="464587"/>
                </a:cubicBezTo>
                <a:cubicBezTo>
                  <a:pt x="1968283" y="488251"/>
                  <a:pt x="1969344" y="505998"/>
                  <a:pt x="1969344" y="517830"/>
                </a:cubicBezTo>
                <a:cubicBezTo>
                  <a:pt x="1969344" y="531225"/>
                  <a:pt x="1968116" y="551205"/>
                  <a:pt x="1965660" y="577771"/>
                </a:cubicBezTo>
                <a:cubicBezTo>
                  <a:pt x="1963205" y="604337"/>
                  <a:pt x="1961977" y="624317"/>
                  <a:pt x="1961977" y="637711"/>
                </a:cubicBezTo>
                <a:cubicBezTo>
                  <a:pt x="1961977" y="695085"/>
                  <a:pt x="1974590" y="723771"/>
                  <a:pt x="1999816" y="723771"/>
                </a:cubicBezTo>
                <a:cubicBezTo>
                  <a:pt x="2008969" y="723771"/>
                  <a:pt x="2016950" y="720646"/>
                  <a:pt x="2023759" y="714395"/>
                </a:cubicBezTo>
                <a:cubicBezTo>
                  <a:pt x="2030568" y="708144"/>
                  <a:pt x="2033972" y="700442"/>
                  <a:pt x="2033972" y="691289"/>
                </a:cubicBezTo>
                <a:cubicBezTo>
                  <a:pt x="2033972" y="685932"/>
                  <a:pt x="2032912" y="677225"/>
                  <a:pt x="2030791" y="665170"/>
                </a:cubicBezTo>
                <a:cubicBezTo>
                  <a:pt x="2028670" y="653115"/>
                  <a:pt x="2027610" y="643739"/>
                  <a:pt x="2027610" y="637042"/>
                </a:cubicBezTo>
                <a:cubicBezTo>
                  <a:pt x="2027610" y="624540"/>
                  <a:pt x="2028838" y="605230"/>
                  <a:pt x="2031293" y="579110"/>
                </a:cubicBezTo>
                <a:cubicBezTo>
                  <a:pt x="2033749" y="552991"/>
                  <a:pt x="2034977" y="533234"/>
                  <a:pt x="2034977" y="519839"/>
                </a:cubicBezTo>
                <a:cubicBezTo>
                  <a:pt x="2042790" y="511133"/>
                  <a:pt x="2048483" y="504101"/>
                  <a:pt x="2052055" y="498743"/>
                </a:cubicBezTo>
                <a:lnTo>
                  <a:pt x="2091569" y="454541"/>
                </a:lnTo>
                <a:cubicBezTo>
                  <a:pt x="2107642" y="438468"/>
                  <a:pt x="2123493" y="426859"/>
                  <a:pt x="2139119" y="419715"/>
                </a:cubicBezTo>
                <a:cubicBezTo>
                  <a:pt x="2145817" y="432887"/>
                  <a:pt x="2149165" y="451304"/>
                  <a:pt x="2149165" y="474968"/>
                </a:cubicBezTo>
                <a:cubicBezTo>
                  <a:pt x="2149165" y="501980"/>
                  <a:pt x="2151900" y="541885"/>
                  <a:pt x="2157370" y="594681"/>
                </a:cubicBezTo>
                <a:cubicBezTo>
                  <a:pt x="2162839" y="647478"/>
                  <a:pt x="2165574" y="687383"/>
                  <a:pt x="2165574" y="714395"/>
                </a:cubicBezTo>
                <a:cubicBezTo>
                  <a:pt x="2165574" y="724218"/>
                  <a:pt x="2168643" y="732310"/>
                  <a:pt x="2174782" y="738673"/>
                </a:cubicBezTo>
                <a:cubicBezTo>
                  <a:pt x="2180921" y="745035"/>
                  <a:pt x="2188791" y="748216"/>
                  <a:pt x="2198390" y="748216"/>
                </a:cubicBezTo>
                <a:cubicBezTo>
                  <a:pt x="2207990" y="748216"/>
                  <a:pt x="2215859" y="745035"/>
                  <a:pt x="2221998" y="738673"/>
                </a:cubicBezTo>
                <a:cubicBezTo>
                  <a:pt x="2228137" y="732310"/>
                  <a:pt x="2231207" y="724218"/>
                  <a:pt x="2231207" y="714395"/>
                </a:cubicBezTo>
                <a:cubicBezTo>
                  <a:pt x="2231207" y="691401"/>
                  <a:pt x="2229086" y="662268"/>
                  <a:pt x="2224844" y="626996"/>
                </a:cubicBezTo>
                <a:lnTo>
                  <a:pt x="2214799" y="537587"/>
                </a:lnTo>
                <a:cubicBezTo>
                  <a:pt x="2213459" y="516602"/>
                  <a:pt x="2212901" y="495618"/>
                  <a:pt x="2213124" y="474633"/>
                </a:cubicBezTo>
                <a:cubicBezTo>
                  <a:pt x="2219821" y="466819"/>
                  <a:pt x="2233886" y="456439"/>
                  <a:pt x="2255317" y="443491"/>
                </a:cubicBezTo>
                <a:cubicBezTo>
                  <a:pt x="2277864" y="429426"/>
                  <a:pt x="2293268" y="422394"/>
                  <a:pt x="2301528" y="422394"/>
                </a:cubicBezTo>
                <a:cubicBezTo>
                  <a:pt x="2310458" y="422394"/>
                  <a:pt x="2318718" y="432440"/>
                  <a:pt x="2326308" y="452532"/>
                </a:cubicBezTo>
                <a:cubicBezTo>
                  <a:pt x="2331666" y="467266"/>
                  <a:pt x="2335461" y="482335"/>
                  <a:pt x="2337693" y="497738"/>
                </a:cubicBezTo>
                <a:lnTo>
                  <a:pt x="2349079" y="601546"/>
                </a:lnTo>
                <a:cubicBezTo>
                  <a:pt x="2353097" y="646195"/>
                  <a:pt x="2357115" y="680797"/>
                  <a:pt x="2361134" y="705354"/>
                </a:cubicBezTo>
                <a:cubicBezTo>
                  <a:pt x="2364259" y="724776"/>
                  <a:pt x="2374975" y="734487"/>
                  <a:pt x="2393280" y="734487"/>
                </a:cubicBezTo>
                <a:cubicBezTo>
                  <a:pt x="2402880" y="734487"/>
                  <a:pt x="2411028" y="731361"/>
                  <a:pt x="2417726" y="725111"/>
                </a:cubicBezTo>
                <a:cubicBezTo>
                  <a:pt x="2424423" y="718860"/>
                  <a:pt x="2427437" y="711270"/>
                  <a:pt x="2426767" y="702340"/>
                </a:cubicBezTo>
                <a:cubicBezTo>
                  <a:pt x="2416944" y="612820"/>
                  <a:pt x="2408907" y="548861"/>
                  <a:pt x="2402657" y="510463"/>
                </a:cubicBezTo>
                <a:cubicBezTo>
                  <a:pt x="2396183" y="455769"/>
                  <a:pt x="2391606" y="424403"/>
                  <a:pt x="2388927" y="416367"/>
                </a:cubicBezTo>
                <a:cubicBezTo>
                  <a:pt x="2375309" y="376183"/>
                  <a:pt x="2349860" y="356091"/>
                  <a:pt x="2312579" y="356091"/>
                </a:cubicBezTo>
                <a:cubicBezTo>
                  <a:pt x="2290701" y="356091"/>
                  <a:pt x="2271279" y="360165"/>
                  <a:pt x="2254312" y="368314"/>
                </a:cubicBezTo>
                <a:cubicBezTo>
                  <a:pt x="2237346" y="376462"/>
                  <a:pt x="2222723" y="388685"/>
                  <a:pt x="2210445" y="404981"/>
                </a:cubicBezTo>
                <a:cubicBezTo>
                  <a:pt x="2197274" y="370156"/>
                  <a:pt x="2173164" y="352743"/>
                  <a:pt x="2138115" y="352743"/>
                </a:cubicBezTo>
                <a:cubicBezTo>
                  <a:pt x="2122265" y="352743"/>
                  <a:pt x="2103066" y="362398"/>
                  <a:pt x="2080518" y="381708"/>
                </a:cubicBezTo>
                <a:cubicBezTo>
                  <a:pt x="2057971" y="401019"/>
                  <a:pt x="2040893" y="422617"/>
                  <a:pt x="2029284" y="446504"/>
                </a:cubicBezTo>
                <a:lnTo>
                  <a:pt x="2028615" y="411344"/>
                </a:lnTo>
                <a:cubicBezTo>
                  <a:pt x="2028615" y="406656"/>
                  <a:pt x="2029173" y="399847"/>
                  <a:pt x="2030289" y="390917"/>
                </a:cubicBezTo>
                <a:cubicBezTo>
                  <a:pt x="2031405" y="381987"/>
                  <a:pt x="2031963" y="375402"/>
                  <a:pt x="2031963" y="371160"/>
                </a:cubicBezTo>
                <a:cubicBezTo>
                  <a:pt x="2031963" y="362230"/>
                  <a:pt x="2028335" y="353970"/>
                  <a:pt x="2021080" y="346380"/>
                </a:cubicBezTo>
                <a:cubicBezTo>
                  <a:pt x="2013825" y="338790"/>
                  <a:pt x="2005844" y="334995"/>
                  <a:pt x="1997137" y="334995"/>
                </a:cubicBezTo>
                <a:close/>
                <a:moveTo>
                  <a:pt x="4566915" y="324279"/>
                </a:moveTo>
                <a:cubicBezTo>
                  <a:pt x="4556200" y="324279"/>
                  <a:pt x="4546265" y="326288"/>
                  <a:pt x="4537113" y="330307"/>
                </a:cubicBezTo>
                <a:cubicBezTo>
                  <a:pt x="4524388" y="336111"/>
                  <a:pt x="4503291" y="343199"/>
                  <a:pt x="4473823" y="351571"/>
                </a:cubicBezTo>
                <a:cubicBezTo>
                  <a:pt x="4444355" y="359942"/>
                  <a:pt x="4422924" y="367142"/>
                  <a:pt x="4409530" y="373169"/>
                </a:cubicBezTo>
                <a:cubicBezTo>
                  <a:pt x="4365551" y="393038"/>
                  <a:pt x="4343562" y="426301"/>
                  <a:pt x="4343562" y="472959"/>
                </a:cubicBezTo>
                <a:cubicBezTo>
                  <a:pt x="4343562" y="498185"/>
                  <a:pt x="4352603" y="517049"/>
                  <a:pt x="4370685" y="529550"/>
                </a:cubicBezTo>
                <a:cubicBezTo>
                  <a:pt x="4383187" y="538257"/>
                  <a:pt x="4404283" y="545847"/>
                  <a:pt x="4433975" y="552321"/>
                </a:cubicBezTo>
                <a:lnTo>
                  <a:pt x="4468800" y="560023"/>
                </a:lnTo>
                <a:cubicBezTo>
                  <a:pt x="4511216" y="570739"/>
                  <a:pt x="4532424" y="591277"/>
                  <a:pt x="4532424" y="621638"/>
                </a:cubicBezTo>
                <a:cubicBezTo>
                  <a:pt x="4532424" y="635702"/>
                  <a:pt x="4522044" y="645971"/>
                  <a:pt x="4501282" y="652445"/>
                </a:cubicBezTo>
                <a:cubicBezTo>
                  <a:pt x="4486995" y="656910"/>
                  <a:pt x="4470475" y="659143"/>
                  <a:pt x="4451722" y="659143"/>
                </a:cubicBezTo>
                <a:cubicBezTo>
                  <a:pt x="4441453" y="659143"/>
                  <a:pt x="4428840" y="657803"/>
                  <a:pt x="4413883" y="655124"/>
                </a:cubicBezTo>
                <a:cubicBezTo>
                  <a:pt x="4395131" y="651776"/>
                  <a:pt x="4383075" y="647534"/>
                  <a:pt x="4377718" y="642399"/>
                </a:cubicBezTo>
                <a:cubicBezTo>
                  <a:pt x="4366779" y="631684"/>
                  <a:pt x="4357849" y="626326"/>
                  <a:pt x="4350929" y="626326"/>
                </a:cubicBezTo>
                <a:cubicBezTo>
                  <a:pt x="4341999" y="626326"/>
                  <a:pt x="4334018" y="629675"/>
                  <a:pt x="4326986" y="636372"/>
                </a:cubicBezTo>
                <a:cubicBezTo>
                  <a:pt x="4319954" y="643069"/>
                  <a:pt x="4316438" y="650883"/>
                  <a:pt x="4316438" y="659812"/>
                </a:cubicBezTo>
                <a:cubicBezTo>
                  <a:pt x="4316438" y="682137"/>
                  <a:pt x="4333627" y="699549"/>
                  <a:pt x="4368007" y="712051"/>
                </a:cubicBezTo>
                <a:cubicBezTo>
                  <a:pt x="4394572" y="721874"/>
                  <a:pt x="4422478" y="726785"/>
                  <a:pt x="4451722" y="726785"/>
                </a:cubicBezTo>
                <a:cubicBezTo>
                  <a:pt x="4491683" y="726785"/>
                  <a:pt x="4524723" y="719195"/>
                  <a:pt x="4550842" y="704014"/>
                </a:cubicBezTo>
                <a:cubicBezTo>
                  <a:pt x="4582319" y="685485"/>
                  <a:pt x="4598058" y="658026"/>
                  <a:pt x="4598058" y="621638"/>
                </a:cubicBezTo>
                <a:cubicBezTo>
                  <a:pt x="4598058" y="577213"/>
                  <a:pt x="4579864" y="543280"/>
                  <a:pt x="4543475" y="519839"/>
                </a:cubicBezTo>
                <a:cubicBezTo>
                  <a:pt x="4518472" y="503766"/>
                  <a:pt x="4480297" y="491153"/>
                  <a:pt x="4428952" y="482000"/>
                </a:cubicBezTo>
                <a:cubicBezTo>
                  <a:pt x="4422478" y="480884"/>
                  <a:pt x="4415892" y="479098"/>
                  <a:pt x="4409195" y="476642"/>
                </a:cubicBezTo>
                <a:cubicBezTo>
                  <a:pt x="4409418" y="455657"/>
                  <a:pt x="4427501" y="438021"/>
                  <a:pt x="4463443" y="423734"/>
                </a:cubicBezTo>
                <a:cubicBezTo>
                  <a:pt x="4498268" y="412348"/>
                  <a:pt x="4524053" y="404535"/>
                  <a:pt x="4540796" y="400293"/>
                </a:cubicBezTo>
                <a:cubicBezTo>
                  <a:pt x="4543252" y="418599"/>
                  <a:pt x="4546154" y="430654"/>
                  <a:pt x="4549502" y="436458"/>
                </a:cubicBezTo>
                <a:cubicBezTo>
                  <a:pt x="4554414" y="444718"/>
                  <a:pt x="4563009" y="448848"/>
                  <a:pt x="4575287" y="448848"/>
                </a:cubicBezTo>
                <a:cubicBezTo>
                  <a:pt x="4584886" y="448848"/>
                  <a:pt x="4592756" y="445723"/>
                  <a:pt x="4598895" y="439472"/>
                </a:cubicBezTo>
                <a:cubicBezTo>
                  <a:pt x="4605034" y="433221"/>
                  <a:pt x="4608104" y="425073"/>
                  <a:pt x="4608104" y="415027"/>
                </a:cubicBezTo>
                <a:cubicBezTo>
                  <a:pt x="4608104" y="408553"/>
                  <a:pt x="4606708" y="399065"/>
                  <a:pt x="4603918" y="386564"/>
                </a:cubicBezTo>
                <a:cubicBezTo>
                  <a:pt x="4601127" y="374062"/>
                  <a:pt x="4599732" y="364574"/>
                  <a:pt x="4599732" y="358100"/>
                </a:cubicBezTo>
                <a:cubicBezTo>
                  <a:pt x="4599732" y="348055"/>
                  <a:pt x="4596662" y="339906"/>
                  <a:pt x="4590523" y="333655"/>
                </a:cubicBezTo>
                <a:cubicBezTo>
                  <a:pt x="4584384" y="327405"/>
                  <a:pt x="4576515" y="324279"/>
                  <a:pt x="4566915" y="324279"/>
                </a:cubicBezTo>
                <a:close/>
                <a:moveTo>
                  <a:pt x="1584214" y="206407"/>
                </a:moveTo>
                <a:cubicBezTo>
                  <a:pt x="1534654" y="206407"/>
                  <a:pt x="1500833" y="207300"/>
                  <a:pt x="1482750" y="209086"/>
                </a:cubicBezTo>
                <a:cubicBezTo>
                  <a:pt x="1461766" y="211095"/>
                  <a:pt x="1451273" y="222481"/>
                  <a:pt x="1451273" y="243242"/>
                </a:cubicBezTo>
                <a:cubicBezTo>
                  <a:pt x="1451273" y="253288"/>
                  <a:pt x="1454510" y="261548"/>
                  <a:pt x="1460984" y="268022"/>
                </a:cubicBezTo>
                <a:cubicBezTo>
                  <a:pt x="1467458" y="274496"/>
                  <a:pt x="1475495" y="277733"/>
                  <a:pt x="1485094" y="277733"/>
                </a:cubicBezTo>
                <a:lnTo>
                  <a:pt x="1528627" y="276729"/>
                </a:lnTo>
                <a:lnTo>
                  <a:pt x="1572159" y="275389"/>
                </a:lnTo>
                <a:cubicBezTo>
                  <a:pt x="1565908" y="352631"/>
                  <a:pt x="1562783" y="417036"/>
                  <a:pt x="1562783" y="468605"/>
                </a:cubicBezTo>
                <a:cubicBezTo>
                  <a:pt x="1562783" y="483786"/>
                  <a:pt x="1563508" y="502482"/>
                  <a:pt x="1564959" y="524695"/>
                </a:cubicBezTo>
                <a:cubicBezTo>
                  <a:pt x="1566410" y="546908"/>
                  <a:pt x="1567136" y="565716"/>
                  <a:pt x="1567136" y="581119"/>
                </a:cubicBezTo>
                <a:cubicBezTo>
                  <a:pt x="1567136" y="604337"/>
                  <a:pt x="1566020" y="624987"/>
                  <a:pt x="1563787" y="643069"/>
                </a:cubicBezTo>
                <a:cubicBezTo>
                  <a:pt x="1530301" y="647757"/>
                  <a:pt x="1506302" y="650101"/>
                  <a:pt x="1491792" y="650101"/>
                </a:cubicBezTo>
                <a:cubicBezTo>
                  <a:pt x="1482415" y="650101"/>
                  <a:pt x="1474546" y="653450"/>
                  <a:pt x="1468184" y="660147"/>
                </a:cubicBezTo>
                <a:cubicBezTo>
                  <a:pt x="1461822" y="666844"/>
                  <a:pt x="1458640" y="674993"/>
                  <a:pt x="1458640" y="684592"/>
                </a:cubicBezTo>
                <a:cubicBezTo>
                  <a:pt x="1458640" y="694192"/>
                  <a:pt x="1461822" y="702284"/>
                  <a:pt x="1468184" y="708870"/>
                </a:cubicBezTo>
                <a:cubicBezTo>
                  <a:pt x="1474546" y="715455"/>
                  <a:pt x="1482415" y="718748"/>
                  <a:pt x="1491792" y="718748"/>
                </a:cubicBezTo>
                <a:cubicBezTo>
                  <a:pt x="1506749" y="718748"/>
                  <a:pt x="1528906" y="716683"/>
                  <a:pt x="1558262" y="712553"/>
                </a:cubicBezTo>
                <a:cubicBezTo>
                  <a:pt x="1587619" y="708423"/>
                  <a:pt x="1609663" y="706358"/>
                  <a:pt x="1624397" y="706358"/>
                </a:cubicBezTo>
                <a:cubicBezTo>
                  <a:pt x="1636899" y="706358"/>
                  <a:pt x="1655651" y="706079"/>
                  <a:pt x="1680654" y="705521"/>
                </a:cubicBezTo>
                <a:cubicBezTo>
                  <a:pt x="1705657" y="704963"/>
                  <a:pt x="1724410" y="704684"/>
                  <a:pt x="1736911" y="704684"/>
                </a:cubicBezTo>
                <a:cubicBezTo>
                  <a:pt x="1746287" y="704684"/>
                  <a:pt x="1754157" y="701391"/>
                  <a:pt x="1760519" y="694806"/>
                </a:cubicBezTo>
                <a:cubicBezTo>
                  <a:pt x="1766882" y="688220"/>
                  <a:pt x="1770063" y="680016"/>
                  <a:pt x="1770063" y="670193"/>
                </a:cubicBezTo>
                <a:cubicBezTo>
                  <a:pt x="1770063" y="660594"/>
                  <a:pt x="1766882" y="652501"/>
                  <a:pt x="1760519" y="645915"/>
                </a:cubicBezTo>
                <a:cubicBezTo>
                  <a:pt x="1754157" y="639330"/>
                  <a:pt x="1746287" y="636037"/>
                  <a:pt x="1736911" y="636037"/>
                </a:cubicBezTo>
                <a:lnTo>
                  <a:pt x="1631429" y="637376"/>
                </a:lnTo>
                <a:cubicBezTo>
                  <a:pt x="1632992" y="620187"/>
                  <a:pt x="1633774" y="601100"/>
                  <a:pt x="1633774" y="580115"/>
                </a:cubicBezTo>
                <a:cubicBezTo>
                  <a:pt x="1633774" y="564488"/>
                  <a:pt x="1633327" y="545177"/>
                  <a:pt x="1632434" y="522183"/>
                </a:cubicBezTo>
                <a:cubicBezTo>
                  <a:pt x="1631541" y="499190"/>
                  <a:pt x="1631095" y="479879"/>
                  <a:pt x="1631095" y="464252"/>
                </a:cubicBezTo>
                <a:cubicBezTo>
                  <a:pt x="1631095" y="405093"/>
                  <a:pt x="1633662" y="343032"/>
                  <a:pt x="1638797" y="278068"/>
                </a:cubicBezTo>
                <a:lnTo>
                  <a:pt x="1692710" y="285100"/>
                </a:lnTo>
                <a:cubicBezTo>
                  <a:pt x="1714364" y="288002"/>
                  <a:pt x="1732335" y="289453"/>
                  <a:pt x="1746622" y="289453"/>
                </a:cubicBezTo>
                <a:cubicBezTo>
                  <a:pt x="1755329" y="289453"/>
                  <a:pt x="1763031" y="286886"/>
                  <a:pt x="1769728" y="281752"/>
                </a:cubicBezTo>
                <a:cubicBezTo>
                  <a:pt x="1777318" y="275501"/>
                  <a:pt x="1781113" y="267129"/>
                  <a:pt x="1781113" y="256637"/>
                </a:cubicBezTo>
                <a:cubicBezTo>
                  <a:pt x="1781113" y="235652"/>
                  <a:pt x="1771179" y="223709"/>
                  <a:pt x="1751310" y="220807"/>
                </a:cubicBezTo>
                <a:cubicBezTo>
                  <a:pt x="1684338" y="211207"/>
                  <a:pt x="1628639" y="206407"/>
                  <a:pt x="1584214" y="206407"/>
                </a:cubicBezTo>
                <a:close/>
                <a:moveTo>
                  <a:pt x="946113" y="205068"/>
                </a:moveTo>
                <a:cubicBezTo>
                  <a:pt x="935398" y="205068"/>
                  <a:pt x="926133" y="208863"/>
                  <a:pt x="918320" y="216453"/>
                </a:cubicBezTo>
                <a:cubicBezTo>
                  <a:pt x="910506" y="224044"/>
                  <a:pt x="906599" y="233196"/>
                  <a:pt x="906599" y="243912"/>
                </a:cubicBezTo>
                <a:cubicBezTo>
                  <a:pt x="906599" y="254628"/>
                  <a:pt x="910506" y="263781"/>
                  <a:pt x="918320" y="271371"/>
                </a:cubicBezTo>
                <a:cubicBezTo>
                  <a:pt x="926133" y="278961"/>
                  <a:pt x="935398" y="282756"/>
                  <a:pt x="946113" y="282756"/>
                </a:cubicBezTo>
                <a:cubicBezTo>
                  <a:pt x="956829" y="282756"/>
                  <a:pt x="966038" y="278961"/>
                  <a:pt x="973740" y="271371"/>
                </a:cubicBezTo>
                <a:cubicBezTo>
                  <a:pt x="981442" y="263781"/>
                  <a:pt x="985292" y="254628"/>
                  <a:pt x="985292" y="243912"/>
                </a:cubicBezTo>
                <a:cubicBezTo>
                  <a:pt x="985292" y="233196"/>
                  <a:pt x="981442" y="224044"/>
                  <a:pt x="973740" y="216453"/>
                </a:cubicBezTo>
                <a:cubicBezTo>
                  <a:pt x="966038" y="208863"/>
                  <a:pt x="956829" y="205068"/>
                  <a:pt x="946113" y="205068"/>
                </a:cubicBezTo>
                <a:close/>
                <a:moveTo>
                  <a:pt x="755614" y="205068"/>
                </a:moveTo>
                <a:cubicBezTo>
                  <a:pt x="744898" y="205068"/>
                  <a:pt x="735633" y="208863"/>
                  <a:pt x="727820" y="216453"/>
                </a:cubicBezTo>
                <a:cubicBezTo>
                  <a:pt x="720006" y="224044"/>
                  <a:pt x="716100" y="233196"/>
                  <a:pt x="716100" y="243912"/>
                </a:cubicBezTo>
                <a:cubicBezTo>
                  <a:pt x="716100" y="254628"/>
                  <a:pt x="720006" y="263781"/>
                  <a:pt x="727820" y="271371"/>
                </a:cubicBezTo>
                <a:cubicBezTo>
                  <a:pt x="735633" y="278961"/>
                  <a:pt x="744898" y="282756"/>
                  <a:pt x="755614" y="282756"/>
                </a:cubicBezTo>
                <a:cubicBezTo>
                  <a:pt x="766329" y="282756"/>
                  <a:pt x="775538" y="278961"/>
                  <a:pt x="783240" y="271371"/>
                </a:cubicBezTo>
                <a:cubicBezTo>
                  <a:pt x="790941" y="263781"/>
                  <a:pt x="794793" y="254628"/>
                  <a:pt x="794793" y="243912"/>
                </a:cubicBezTo>
                <a:cubicBezTo>
                  <a:pt x="794793" y="233196"/>
                  <a:pt x="790941" y="224044"/>
                  <a:pt x="783240" y="216453"/>
                </a:cubicBezTo>
                <a:cubicBezTo>
                  <a:pt x="775538" y="208863"/>
                  <a:pt x="766329" y="205068"/>
                  <a:pt x="755614" y="205068"/>
                </a:cubicBezTo>
                <a:close/>
                <a:moveTo>
                  <a:pt x="3032758" y="196696"/>
                </a:moveTo>
                <a:cubicBezTo>
                  <a:pt x="3020256" y="196696"/>
                  <a:pt x="3010099" y="202389"/>
                  <a:pt x="3002285" y="213774"/>
                </a:cubicBezTo>
                <a:cubicBezTo>
                  <a:pt x="2995588" y="211542"/>
                  <a:pt x="2987886" y="209923"/>
                  <a:pt x="2979180" y="208919"/>
                </a:cubicBezTo>
                <a:cubicBezTo>
                  <a:pt x="2970473" y="207914"/>
                  <a:pt x="2960651" y="207412"/>
                  <a:pt x="2949712" y="207412"/>
                </a:cubicBezTo>
                <a:cubicBezTo>
                  <a:pt x="2895910" y="207412"/>
                  <a:pt x="2842555" y="240563"/>
                  <a:pt x="2789647" y="306866"/>
                </a:cubicBezTo>
                <a:cubicBezTo>
                  <a:pt x="2726246" y="386341"/>
                  <a:pt x="2694546" y="463917"/>
                  <a:pt x="2694546" y="539596"/>
                </a:cubicBezTo>
                <a:cubicBezTo>
                  <a:pt x="2694546" y="586477"/>
                  <a:pt x="2709950" y="627107"/>
                  <a:pt x="2740757" y="661487"/>
                </a:cubicBezTo>
                <a:cubicBezTo>
                  <a:pt x="2772681" y="696982"/>
                  <a:pt x="2811748" y="714730"/>
                  <a:pt x="2857959" y="714730"/>
                </a:cubicBezTo>
                <a:cubicBezTo>
                  <a:pt x="2918234" y="714730"/>
                  <a:pt x="2977840" y="688611"/>
                  <a:pt x="3036776" y="636372"/>
                </a:cubicBezTo>
                <a:cubicBezTo>
                  <a:pt x="3045259" y="628782"/>
                  <a:pt x="3049501" y="619964"/>
                  <a:pt x="3049501" y="609918"/>
                </a:cubicBezTo>
                <a:cubicBezTo>
                  <a:pt x="3049501" y="600988"/>
                  <a:pt x="3046264" y="592895"/>
                  <a:pt x="3039790" y="585640"/>
                </a:cubicBezTo>
                <a:cubicBezTo>
                  <a:pt x="3033316" y="578385"/>
                  <a:pt x="3025279" y="574757"/>
                  <a:pt x="3015680" y="574757"/>
                </a:cubicBezTo>
                <a:cubicBezTo>
                  <a:pt x="3009206" y="574757"/>
                  <a:pt x="2999606" y="579445"/>
                  <a:pt x="2986881" y="588821"/>
                </a:cubicBezTo>
                <a:cubicBezTo>
                  <a:pt x="2960092" y="608467"/>
                  <a:pt x="2940224" y="621638"/>
                  <a:pt x="2927276" y="628335"/>
                </a:cubicBezTo>
                <a:cubicBezTo>
                  <a:pt x="2904059" y="640167"/>
                  <a:pt x="2880953" y="646083"/>
                  <a:pt x="2857959" y="646083"/>
                </a:cubicBezTo>
                <a:cubicBezTo>
                  <a:pt x="2831170" y="646083"/>
                  <a:pt x="2808288" y="635367"/>
                  <a:pt x="2789312" y="613936"/>
                </a:cubicBezTo>
                <a:cubicBezTo>
                  <a:pt x="2770783" y="593175"/>
                  <a:pt x="2761518" y="568395"/>
                  <a:pt x="2761518" y="539596"/>
                </a:cubicBezTo>
                <a:cubicBezTo>
                  <a:pt x="2761518" y="479991"/>
                  <a:pt x="2788308" y="416925"/>
                  <a:pt x="2841886" y="350399"/>
                </a:cubicBezTo>
                <a:cubicBezTo>
                  <a:pt x="2881400" y="300839"/>
                  <a:pt x="2917342" y="276059"/>
                  <a:pt x="2949712" y="276059"/>
                </a:cubicBezTo>
                <a:cubicBezTo>
                  <a:pt x="2968241" y="276059"/>
                  <a:pt x="2979849" y="277287"/>
                  <a:pt x="2984537" y="279742"/>
                </a:cubicBezTo>
                <a:cubicBezTo>
                  <a:pt x="2989895" y="282868"/>
                  <a:pt x="2995700" y="291574"/>
                  <a:pt x="3001950" y="305862"/>
                </a:cubicBezTo>
                <a:cubicBezTo>
                  <a:pt x="3009094" y="322605"/>
                  <a:pt x="3019810" y="330977"/>
                  <a:pt x="3034097" y="330977"/>
                </a:cubicBezTo>
                <a:cubicBezTo>
                  <a:pt x="3045259" y="330977"/>
                  <a:pt x="3053854" y="326623"/>
                  <a:pt x="3059882" y="317917"/>
                </a:cubicBezTo>
                <a:cubicBezTo>
                  <a:pt x="3064793" y="310996"/>
                  <a:pt x="3067249" y="302960"/>
                  <a:pt x="3067249" y="293807"/>
                </a:cubicBezTo>
                <a:cubicBezTo>
                  <a:pt x="3067249" y="267464"/>
                  <a:pt x="3065463" y="245252"/>
                  <a:pt x="3061891" y="227169"/>
                </a:cubicBezTo>
                <a:cubicBezTo>
                  <a:pt x="3057872" y="206854"/>
                  <a:pt x="3048161" y="196696"/>
                  <a:pt x="3032758" y="196696"/>
                </a:cubicBezTo>
                <a:close/>
                <a:moveTo>
                  <a:pt x="220018" y="186316"/>
                </a:moveTo>
                <a:cubicBezTo>
                  <a:pt x="210865" y="186316"/>
                  <a:pt x="203219" y="189441"/>
                  <a:pt x="197080" y="195692"/>
                </a:cubicBezTo>
                <a:cubicBezTo>
                  <a:pt x="190941" y="201943"/>
                  <a:pt x="187871" y="209756"/>
                  <a:pt x="187871" y="219132"/>
                </a:cubicBezTo>
                <a:cubicBezTo>
                  <a:pt x="187871" y="236768"/>
                  <a:pt x="186755" y="263278"/>
                  <a:pt x="184523" y="298662"/>
                </a:cubicBezTo>
                <a:cubicBezTo>
                  <a:pt x="182290" y="334046"/>
                  <a:pt x="181174" y="360556"/>
                  <a:pt x="181174" y="378192"/>
                </a:cubicBezTo>
                <a:cubicBezTo>
                  <a:pt x="181174" y="390694"/>
                  <a:pt x="181621" y="409335"/>
                  <a:pt x="182513" y="434114"/>
                </a:cubicBezTo>
                <a:cubicBezTo>
                  <a:pt x="183406" y="458894"/>
                  <a:pt x="183853" y="477423"/>
                  <a:pt x="183853" y="489702"/>
                </a:cubicBezTo>
                <a:cubicBezTo>
                  <a:pt x="183853" y="513365"/>
                  <a:pt x="181900" y="548693"/>
                  <a:pt x="177993" y="595686"/>
                </a:cubicBezTo>
                <a:cubicBezTo>
                  <a:pt x="174086" y="642678"/>
                  <a:pt x="172133" y="678007"/>
                  <a:pt x="172133" y="701670"/>
                </a:cubicBezTo>
                <a:cubicBezTo>
                  <a:pt x="172133" y="710823"/>
                  <a:pt x="175202" y="718581"/>
                  <a:pt x="181341" y="724943"/>
                </a:cubicBezTo>
                <a:cubicBezTo>
                  <a:pt x="187481" y="731306"/>
                  <a:pt x="195127" y="734487"/>
                  <a:pt x="204280" y="734487"/>
                </a:cubicBezTo>
                <a:cubicBezTo>
                  <a:pt x="213433" y="734487"/>
                  <a:pt x="221079" y="731306"/>
                  <a:pt x="227218" y="724943"/>
                </a:cubicBezTo>
                <a:cubicBezTo>
                  <a:pt x="233357" y="718581"/>
                  <a:pt x="236427" y="710823"/>
                  <a:pt x="236427" y="701670"/>
                </a:cubicBezTo>
                <a:cubicBezTo>
                  <a:pt x="236427" y="681355"/>
                  <a:pt x="238436" y="652724"/>
                  <a:pt x="242454" y="615778"/>
                </a:cubicBezTo>
                <a:cubicBezTo>
                  <a:pt x="246472" y="578831"/>
                  <a:pt x="248482" y="550312"/>
                  <a:pt x="248482" y="530220"/>
                </a:cubicBezTo>
                <a:lnTo>
                  <a:pt x="389124" y="502761"/>
                </a:lnTo>
                <a:cubicBezTo>
                  <a:pt x="445381" y="492046"/>
                  <a:pt x="492597" y="486353"/>
                  <a:pt x="530771" y="485683"/>
                </a:cubicBezTo>
                <a:cubicBezTo>
                  <a:pt x="529655" y="502427"/>
                  <a:pt x="529097" y="518946"/>
                  <a:pt x="529097" y="535243"/>
                </a:cubicBezTo>
                <a:cubicBezTo>
                  <a:pt x="529097" y="552210"/>
                  <a:pt x="530325" y="577659"/>
                  <a:pt x="532780" y="611592"/>
                </a:cubicBezTo>
                <a:cubicBezTo>
                  <a:pt x="535236" y="645525"/>
                  <a:pt x="536464" y="671086"/>
                  <a:pt x="536464" y="688276"/>
                </a:cubicBezTo>
                <a:cubicBezTo>
                  <a:pt x="536464" y="697429"/>
                  <a:pt x="539589" y="705130"/>
                  <a:pt x="545840" y="711381"/>
                </a:cubicBezTo>
                <a:cubicBezTo>
                  <a:pt x="552091" y="717632"/>
                  <a:pt x="559681" y="720757"/>
                  <a:pt x="568611" y="720757"/>
                </a:cubicBezTo>
                <a:cubicBezTo>
                  <a:pt x="577764" y="720757"/>
                  <a:pt x="585410" y="717632"/>
                  <a:pt x="591549" y="711381"/>
                </a:cubicBezTo>
                <a:cubicBezTo>
                  <a:pt x="597688" y="705130"/>
                  <a:pt x="600758" y="697429"/>
                  <a:pt x="600758" y="688276"/>
                </a:cubicBezTo>
                <a:cubicBezTo>
                  <a:pt x="600758" y="671086"/>
                  <a:pt x="599530" y="645525"/>
                  <a:pt x="597074" y="611592"/>
                </a:cubicBezTo>
                <a:cubicBezTo>
                  <a:pt x="594619" y="577659"/>
                  <a:pt x="593391" y="552210"/>
                  <a:pt x="593391" y="535243"/>
                </a:cubicBezTo>
                <a:cubicBezTo>
                  <a:pt x="593391" y="512919"/>
                  <a:pt x="595344" y="479656"/>
                  <a:pt x="599251" y="435454"/>
                </a:cubicBezTo>
                <a:cubicBezTo>
                  <a:pt x="603158" y="391252"/>
                  <a:pt x="605111" y="357989"/>
                  <a:pt x="605111" y="335665"/>
                </a:cubicBezTo>
                <a:cubicBezTo>
                  <a:pt x="605111" y="328967"/>
                  <a:pt x="604888" y="319033"/>
                  <a:pt x="604441" y="305862"/>
                </a:cubicBezTo>
                <a:cubicBezTo>
                  <a:pt x="603995" y="292690"/>
                  <a:pt x="603771" y="282756"/>
                  <a:pt x="603771" y="276059"/>
                </a:cubicBezTo>
                <a:cubicBezTo>
                  <a:pt x="603771" y="257976"/>
                  <a:pt x="605446" y="244247"/>
                  <a:pt x="608794" y="234871"/>
                </a:cubicBezTo>
                <a:cubicBezTo>
                  <a:pt x="610804" y="229066"/>
                  <a:pt x="611808" y="224490"/>
                  <a:pt x="611808" y="221141"/>
                </a:cubicBezTo>
                <a:cubicBezTo>
                  <a:pt x="611808" y="211765"/>
                  <a:pt x="608460" y="204008"/>
                  <a:pt x="601762" y="197868"/>
                </a:cubicBezTo>
                <a:cubicBezTo>
                  <a:pt x="595065" y="191729"/>
                  <a:pt x="587475" y="188660"/>
                  <a:pt x="578992" y="188660"/>
                </a:cubicBezTo>
                <a:cubicBezTo>
                  <a:pt x="565597" y="188660"/>
                  <a:pt x="555216" y="200603"/>
                  <a:pt x="547849" y="224490"/>
                </a:cubicBezTo>
                <a:cubicBezTo>
                  <a:pt x="542268" y="241903"/>
                  <a:pt x="539478" y="259093"/>
                  <a:pt x="539478" y="276059"/>
                </a:cubicBezTo>
                <a:cubicBezTo>
                  <a:pt x="539478" y="340353"/>
                  <a:pt x="538250" y="388461"/>
                  <a:pt x="535794" y="420385"/>
                </a:cubicBezTo>
                <a:cubicBezTo>
                  <a:pt x="496504" y="420832"/>
                  <a:pt x="448172" y="426413"/>
                  <a:pt x="390798" y="437128"/>
                </a:cubicBezTo>
                <a:lnTo>
                  <a:pt x="247142" y="464252"/>
                </a:lnTo>
                <a:lnTo>
                  <a:pt x="245133" y="379532"/>
                </a:lnTo>
                <a:cubicBezTo>
                  <a:pt x="245133" y="361672"/>
                  <a:pt x="246305" y="334939"/>
                  <a:pt x="248649" y="299332"/>
                </a:cubicBezTo>
                <a:cubicBezTo>
                  <a:pt x="250993" y="263725"/>
                  <a:pt x="252165" y="236992"/>
                  <a:pt x="252165" y="219132"/>
                </a:cubicBezTo>
                <a:cubicBezTo>
                  <a:pt x="252165" y="209756"/>
                  <a:pt x="249095" y="201943"/>
                  <a:pt x="242956" y="195692"/>
                </a:cubicBezTo>
                <a:cubicBezTo>
                  <a:pt x="236817" y="189441"/>
                  <a:pt x="229171" y="186316"/>
                  <a:pt x="220018" y="186316"/>
                </a:cubicBezTo>
                <a:close/>
                <a:moveTo>
                  <a:pt x="1862932" y="176270"/>
                </a:moveTo>
                <a:cubicBezTo>
                  <a:pt x="1849091" y="176270"/>
                  <a:pt x="1840607" y="185088"/>
                  <a:pt x="1837482" y="202724"/>
                </a:cubicBezTo>
                <a:lnTo>
                  <a:pt x="1824757" y="261325"/>
                </a:lnTo>
                <a:cubicBezTo>
                  <a:pt x="1819399" y="285435"/>
                  <a:pt x="1816832" y="301509"/>
                  <a:pt x="1817055" y="309545"/>
                </a:cubicBezTo>
                <a:cubicBezTo>
                  <a:pt x="1817725" y="330084"/>
                  <a:pt x="1826655" y="340353"/>
                  <a:pt x="1843844" y="340353"/>
                </a:cubicBezTo>
                <a:cubicBezTo>
                  <a:pt x="1857462" y="340353"/>
                  <a:pt x="1866950" y="329749"/>
                  <a:pt x="1872308" y="308541"/>
                </a:cubicBezTo>
                <a:cubicBezTo>
                  <a:pt x="1884586" y="259427"/>
                  <a:pt x="1890502" y="225495"/>
                  <a:pt x="1890056" y="206742"/>
                </a:cubicBezTo>
                <a:cubicBezTo>
                  <a:pt x="1890056" y="198482"/>
                  <a:pt x="1887544" y="191339"/>
                  <a:pt x="1882521" y="185311"/>
                </a:cubicBezTo>
                <a:cubicBezTo>
                  <a:pt x="1877498" y="179283"/>
                  <a:pt x="1870968" y="176270"/>
                  <a:pt x="1862932" y="176270"/>
                </a:cubicBezTo>
                <a:close/>
                <a:moveTo>
                  <a:pt x="3852057" y="167898"/>
                </a:moveTo>
                <a:cubicBezTo>
                  <a:pt x="3830179" y="167898"/>
                  <a:pt x="3819240" y="179060"/>
                  <a:pt x="3819240" y="201384"/>
                </a:cubicBezTo>
                <a:cubicBezTo>
                  <a:pt x="3819240" y="236657"/>
                  <a:pt x="3818682" y="277008"/>
                  <a:pt x="3817566" y="322438"/>
                </a:cubicBezTo>
                <a:cubicBezTo>
                  <a:pt x="3816449" y="367867"/>
                  <a:pt x="3815891" y="408218"/>
                  <a:pt x="3815891" y="443491"/>
                </a:cubicBezTo>
                <a:cubicBezTo>
                  <a:pt x="3815891" y="470503"/>
                  <a:pt x="3814663" y="511077"/>
                  <a:pt x="3812208" y="565213"/>
                </a:cubicBezTo>
                <a:cubicBezTo>
                  <a:pt x="3809752" y="619350"/>
                  <a:pt x="3808524" y="659924"/>
                  <a:pt x="3808524" y="686936"/>
                </a:cubicBezTo>
                <a:cubicBezTo>
                  <a:pt x="3808524" y="709707"/>
                  <a:pt x="3819463" y="721092"/>
                  <a:pt x="3841341" y="721092"/>
                </a:cubicBezTo>
                <a:cubicBezTo>
                  <a:pt x="3860986" y="721092"/>
                  <a:pt x="3871925" y="709930"/>
                  <a:pt x="3874158" y="687606"/>
                </a:cubicBezTo>
                <a:cubicBezTo>
                  <a:pt x="3875943" y="653450"/>
                  <a:pt x="3876836" y="627554"/>
                  <a:pt x="3876836" y="609918"/>
                </a:cubicBezTo>
                <a:lnTo>
                  <a:pt x="3881859" y="443491"/>
                </a:lnTo>
                <a:cubicBezTo>
                  <a:pt x="3881859" y="408218"/>
                  <a:pt x="3882418" y="367867"/>
                  <a:pt x="3883534" y="322438"/>
                </a:cubicBezTo>
                <a:cubicBezTo>
                  <a:pt x="3884650" y="277008"/>
                  <a:pt x="3885208" y="236657"/>
                  <a:pt x="3885208" y="201384"/>
                </a:cubicBezTo>
                <a:cubicBezTo>
                  <a:pt x="3885208" y="179060"/>
                  <a:pt x="3874158" y="167898"/>
                  <a:pt x="3852057" y="167898"/>
                </a:cubicBezTo>
                <a:close/>
                <a:moveTo>
                  <a:pt x="630916" y="0"/>
                </a:moveTo>
                <a:lnTo>
                  <a:pt x="918219" y="0"/>
                </a:lnTo>
                <a:lnTo>
                  <a:pt x="2295546" y="0"/>
                </a:lnTo>
                <a:lnTo>
                  <a:pt x="4878395" y="0"/>
                </a:lnTo>
                <a:cubicBezTo>
                  <a:pt x="5226840" y="0"/>
                  <a:pt x="5509311" y="282471"/>
                  <a:pt x="5509311" y="630916"/>
                </a:cubicBezTo>
                <a:lnTo>
                  <a:pt x="5509311" y="2208161"/>
                </a:lnTo>
                <a:lnTo>
                  <a:pt x="5509311" y="3154503"/>
                </a:lnTo>
                <a:cubicBezTo>
                  <a:pt x="5509311" y="3502948"/>
                  <a:pt x="5226840" y="3785419"/>
                  <a:pt x="4878395" y="3785419"/>
                </a:cubicBezTo>
                <a:lnTo>
                  <a:pt x="2295546" y="3785419"/>
                </a:lnTo>
                <a:lnTo>
                  <a:pt x="1606901" y="4258596"/>
                </a:lnTo>
                <a:lnTo>
                  <a:pt x="918219" y="3785419"/>
                </a:lnTo>
                <a:lnTo>
                  <a:pt x="630916" y="3785419"/>
                </a:lnTo>
                <a:cubicBezTo>
                  <a:pt x="282471" y="3785419"/>
                  <a:pt x="0" y="3502948"/>
                  <a:pt x="0" y="3154503"/>
                </a:cubicBezTo>
                <a:lnTo>
                  <a:pt x="0" y="2208161"/>
                </a:lnTo>
                <a:lnTo>
                  <a:pt x="0" y="630916"/>
                </a:lnTo>
                <a:cubicBezTo>
                  <a:pt x="0" y="282471"/>
                  <a:pt x="282471" y="0"/>
                  <a:pt x="630916" y="0"/>
                </a:cubicBezTo>
                <a:close/>
              </a:path>
            </a:pathLst>
          </a:cu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en-US" sz="54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Comic Sans MS" panose="030F0702030302020204" pitchFamily="66" charset="0"/>
              </a:rPr>
              <a:t>   </a:t>
            </a:r>
            <a:endParaRPr lang="en-IN" sz="5400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  <a:latin typeface="Comic Sans MS" panose="030F0702030302020204" pitchFamily="66" charset="0"/>
            </a:endParaRPr>
          </a:p>
        </p:txBody>
      </p:sp>
      <p:pic>
        <p:nvPicPr>
          <p:cNvPr id="58" name="Picture 57" descr="A person in a hat in a field&#10;&#10;Description automatically generated">
            <a:extLst>
              <a:ext uri="{FF2B5EF4-FFF2-40B4-BE49-F238E27FC236}">
                <a16:creationId xmlns:a16="http://schemas.microsoft.com/office/drawing/2014/main" id="{95FC1435-6D76-E005-BAFB-32B15C8D203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22738" y="1398615"/>
            <a:ext cx="4795777" cy="497105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7" name="Picture 6" descr="A person in a hat in a field&#10;&#10;Description automatically generated">
            <a:extLst>
              <a:ext uri="{FF2B5EF4-FFF2-40B4-BE49-F238E27FC236}">
                <a16:creationId xmlns:a16="http://schemas.microsoft.com/office/drawing/2014/main" id="{1CF61CAD-AD0D-A339-7C05-BC73FB6180E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8946" y="1775975"/>
            <a:ext cx="4795777" cy="497105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C288235-D0B8-18C8-F42F-56A05C945768}"/>
              </a:ext>
            </a:extLst>
          </p:cNvPr>
          <p:cNvSpPr txBox="1"/>
          <p:nvPr/>
        </p:nvSpPr>
        <p:spPr>
          <a:xfrm flipH="1">
            <a:off x="2914307" y="461283"/>
            <a:ext cx="3505648" cy="1912907"/>
          </a:xfrm>
          <a:prstGeom prst="wedgeEllipseCallout">
            <a:avLst/>
          </a:prstGeom>
          <a:solidFill>
            <a:srgbClr val="00B050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  <a:scene3d>
              <a:camera prst="isometricOffAxis1Right"/>
              <a:lightRig rig="threePt" dir="t"/>
            </a:scene3d>
          </a:bodyPr>
          <a:lstStyle/>
          <a:p>
            <a:pPr algn="l">
              <a:spcBef>
                <a:spcPts val="600"/>
              </a:spcBef>
            </a:pPr>
            <a:r>
              <a:rPr lang="en-IN" sz="2400" b="1" dirty="0">
                <a:ln w="13462">
                  <a:solidFill>
                    <a:srgbClr val="00B050"/>
                  </a:solidFill>
                  <a:prstDash val="solid"/>
                </a:ln>
                <a:solidFill>
                  <a:srgbClr val="FFFFFF"/>
                </a:solidFill>
                <a:latin typeface="Comic Sans MS" panose="030F0702030302020204" pitchFamily="66" charset="0"/>
              </a:rPr>
              <a:t>Hii, I’m Carlos and it’s been a tough season!!!</a:t>
            </a:r>
            <a:endParaRPr lang="en-IN" sz="5400" b="1" dirty="0">
              <a:ln w="13462">
                <a:solidFill>
                  <a:srgbClr val="00B050"/>
                </a:solidFill>
                <a:prstDash val="solid"/>
              </a:ln>
              <a:solidFill>
                <a:srgbClr val="FFFFFF"/>
              </a:solidFill>
              <a:latin typeface="Comic Sans MS" panose="030F07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437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8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D63CBC2-DDD7-449D-CED1-3AD491A817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306BF4-BD0F-C479-016E-FB087B6F01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D21C9C-091C-0BAC-2B41-420948DDE4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10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5E26DA4-70F2-A82B-CBCF-67593AA24263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3547A17-F500-08EC-2B7D-B1BCBB8BF1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14372" y="-6139448"/>
            <a:ext cx="12306372" cy="27658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97E3C6BF-1607-4882-EBE7-3A6D5BF5F6C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955" t="14922" r="3726" b="1353"/>
          <a:stretch/>
        </p:blipFill>
        <p:spPr>
          <a:xfrm>
            <a:off x="-67345" y="-10522812"/>
            <a:ext cx="12192000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A23B560D-CC52-8217-C6E0-940EA9B48F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9339" y="-7399438"/>
            <a:ext cx="8535417" cy="3140842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3A9C9DAB-9389-F669-8EE8-E3BB0604D80F}"/>
              </a:ext>
            </a:extLst>
          </p:cNvPr>
          <p:cNvSpPr txBox="1">
            <a:spLocks/>
          </p:cNvSpPr>
          <p:nvPr/>
        </p:nvSpPr>
        <p:spPr>
          <a:xfrm>
            <a:off x="4523561" y="257810"/>
            <a:ext cx="6982680" cy="34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32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Syngenta's </a:t>
            </a:r>
            <a:r>
              <a:rPr lang="en-IN" sz="3200" b="0" i="0" u="sng" dirty="0" err="1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Cropwise</a:t>
            </a:r>
            <a:r>
              <a:rPr lang="en-IN" sz="32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 </a:t>
            </a:r>
            <a:r>
              <a:rPr lang="en-IN" sz="3200" b="0" i="0" u="sng" dirty="0" err="1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SprayAssist</a:t>
            </a:r>
            <a:endParaRPr lang="en-IN" sz="3200" b="0" u="sng" dirty="0">
              <a:solidFill>
                <a:schemeClr val="accent1">
                  <a:lumMod val="90000"/>
                  <a:lumOff val="10000"/>
                </a:schemeClr>
              </a:solidFill>
              <a:latin typeface="Comic Sans MS" panose="030F0702030302020204" pitchFamily="66" charset="0"/>
            </a:endParaRPr>
          </a:p>
          <a:p>
            <a:pPr algn="ctr"/>
            <a:r>
              <a:rPr lang="en-IN" sz="2000" b="0" i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Optimal Crop Growth through </a:t>
            </a:r>
          </a:p>
          <a:p>
            <a:pPr algn="ctr"/>
            <a:r>
              <a:rPr lang="en-IN" sz="2000" b="0" i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Precision Fertilization and Pest Control</a:t>
            </a:r>
            <a:endParaRPr lang="en-IN" sz="20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0EDEC36-76EF-D3BD-6A0C-C4D99F5A7AFA}"/>
              </a:ext>
            </a:extLst>
          </p:cNvPr>
          <p:cNvSpPr txBox="1"/>
          <p:nvPr/>
        </p:nvSpPr>
        <p:spPr>
          <a:xfrm>
            <a:off x="4971243" y="1744372"/>
            <a:ext cx="6534998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Infestation Detection: Identify infected crop regions accurately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Precision Pesticide Recommendations: Suggest targeted pesticides for effective pest control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Fertilizer Application: Enhance crop yield with precise and efficient fertilizer spraying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Integrated Pest Management: Streamline pest control and fertilization for optimal results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Smart Intervention: Address crop issues promptly for improved overall health and productivity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7A6AC6-8C90-E46F-7322-D8603AE9335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5376764">
            <a:off x="-375129" y="4600791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CEAA2DD-72C7-8B14-0F93-D88FA54F46D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8076764">
            <a:off x="-2185950" y="3997002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78CC38D-2A04-002A-2F5F-2DDAE35BD3C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0776764">
            <a:off x="-2852014" y="2157160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0D9D31-66A4-DDCF-9E5D-679650F3DFB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14376764">
            <a:off x="-1835060" y="567322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9A1F3ED-F8CB-A7A9-3FE4-692ED3BFA21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7076764">
            <a:off x="72736" y="348950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6FD0CA-E0FA-2692-7BC9-C3DDBBB34E04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2676764">
            <a:off x="1178855" y="3524273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A8F77AD8-2147-D246-26F3-7EC522A3AE6A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20676764">
            <a:off x="2115491" y="718699"/>
            <a:ext cx="1865173" cy="3426190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58993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18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05E4A80-BC85-4333-EE1E-9A4211681B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8F8168-6A11-AF45-6253-7CCA6144E9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0E9849-9078-1C83-77A5-5967DA3D8E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11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C83FA23-713A-944C-4656-65D704367720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5ED6D50-D13B-D4FF-82DE-A571CBDA70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114372" y="-6139448"/>
            <a:ext cx="12306372" cy="27658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8ED66A7-8D35-95EB-22A9-CD96D64F9D2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955" t="14922" r="3726" b="1353"/>
          <a:stretch/>
        </p:blipFill>
        <p:spPr>
          <a:xfrm>
            <a:off x="-67345" y="-10522812"/>
            <a:ext cx="12192000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7559CBC3-9C27-FAE3-83F6-6AB22D81768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79339" y="-7399438"/>
            <a:ext cx="8535417" cy="3140842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02D22C37-9640-8444-03B5-253FF968A05A}"/>
              </a:ext>
            </a:extLst>
          </p:cNvPr>
          <p:cNvSpPr txBox="1">
            <a:spLocks/>
          </p:cNvSpPr>
          <p:nvPr/>
        </p:nvSpPr>
        <p:spPr>
          <a:xfrm>
            <a:off x="4523561" y="257810"/>
            <a:ext cx="6982680" cy="34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32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A short Reel</a:t>
            </a:r>
            <a:endParaRPr lang="en-IN" sz="20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1310BFB-9714-92C3-6006-BC00B2E6C79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11768987">
            <a:off x="-2824807" y="2028135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98ACBA6-94E1-99DC-8B7F-BAF1A26DA563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4468987">
            <a:off x="-1680262" y="411797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E207818-ED8C-3BDE-EB9C-8589BF21175A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7168987">
            <a:off x="222754" y="349248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0ACC79B-E691-43B5-CE73-D8166CDDC56B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20768987">
            <a:off x="1490832" y="1738539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FDB7017-F90D-C848-9DEB-C9372570CD72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868987">
            <a:off x="1140841" y="3646674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822426F-5DDF-2345-73EA-2024D1E80951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5468987">
            <a:off x="-499509" y="4550340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6CC0D60-7148-27AF-E788-CE42D340DE79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9068987">
            <a:off x="-2282950" y="3904151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pic>
        <p:nvPicPr>
          <p:cNvPr id="29" name="Untitled design">
            <a:hlinkClick r:id="" action="ppaction://media"/>
            <a:extLst>
              <a:ext uri="{FF2B5EF4-FFF2-40B4-BE49-F238E27FC236}">
                <a16:creationId xmlns:a16="http://schemas.microsoft.com/office/drawing/2014/main" id="{21099E1D-D012-C993-148E-F1AD1B13935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6618217" y="1009786"/>
            <a:ext cx="2793368" cy="496598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018868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90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9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8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3A0174-FF60-E69D-344B-DE1B49C69E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FEBF54B-6561-8F30-5C9A-919B36A23B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EEB25C-311A-B9AA-FD98-7038FB6646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12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877E1A3-B33E-482F-0486-FC25264FD19E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3B01869-C330-FCD6-07A5-5C09273C09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14372" y="-6139448"/>
            <a:ext cx="12306372" cy="27658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24DF4689-DA28-ED83-C37C-AE076131BDE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955" t="14922" r="3726" b="1353"/>
          <a:stretch/>
        </p:blipFill>
        <p:spPr>
          <a:xfrm>
            <a:off x="-67345" y="-10522812"/>
            <a:ext cx="12192000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8B7B2A96-9447-A9A4-F155-0454AF26DD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9339" y="-7399438"/>
            <a:ext cx="8535417" cy="3140842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132F47B-8050-F72A-8767-8575222202C4}"/>
              </a:ext>
            </a:extLst>
          </p:cNvPr>
          <p:cNvSpPr txBox="1">
            <a:spLocks/>
          </p:cNvSpPr>
          <p:nvPr/>
        </p:nvSpPr>
        <p:spPr>
          <a:xfrm>
            <a:off x="4523561" y="544932"/>
            <a:ext cx="6982680" cy="34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28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Commodity Pro </a:t>
            </a:r>
          </a:p>
          <a:p>
            <a:pPr algn="ctr"/>
            <a:r>
              <a:rPr lang="en-IN" sz="1800" b="0" i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Invest in advanced technology to optimize yield and protect purchases from price fluctuations during the growing season.</a:t>
            </a:r>
            <a:endParaRPr lang="en-IN" sz="12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4C5670-B785-C562-C4BD-4F9FC370A72D}"/>
              </a:ext>
            </a:extLst>
          </p:cNvPr>
          <p:cNvSpPr txBox="1"/>
          <p:nvPr/>
        </p:nvSpPr>
        <p:spPr>
          <a:xfrm>
            <a:off x="4971243" y="1711744"/>
            <a:ext cx="6534998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Safeguard Margins: Protect agricultural margins from volatile price movements.</a:t>
            </a:r>
          </a:p>
          <a:p>
            <a:pPr algn="l"/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Maximize Yield: Invest in premium technology to optimize and maximize crop yield.</a:t>
            </a:r>
          </a:p>
          <a:p>
            <a:pPr algn="l"/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Confidence in Syngenta Products: Gain confidence in Syngenta's crop protection and seed products.</a:t>
            </a:r>
          </a:p>
          <a:p>
            <a:pPr algn="l"/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Volatility Reduction: Reduce farm profitability volatility with this comprehensive solution.</a:t>
            </a:r>
          </a:p>
          <a:p>
            <a:pPr algn="l"/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Cashback Assurance: Receive 15% to 20% cashback if commodity prices turn </a:t>
            </a:r>
            <a:r>
              <a:rPr lang="en-IN" sz="2000" b="0" i="1" dirty="0" err="1">
                <a:solidFill>
                  <a:srgbClr val="00B050"/>
                </a:solidFill>
                <a:effectLst/>
                <a:latin typeface="Söhne"/>
              </a:rPr>
              <a:t>unfavorably</a:t>
            </a: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5773AD-9FA2-06D5-85C6-AFDB9DFBFEA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17496381">
            <a:off x="-82078" y="365921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B2DC1B7-0077-D47D-EE8B-63A0B452E6F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296381">
            <a:off x="1299405" y="3559319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2CF61DB-EB69-7F93-E05C-399A6DE59FE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4896381">
            <a:off x="-176820" y="4651526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F431324-FABB-3344-8A67-F18C2099847B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7596381">
            <a:off x="-2056487" y="4138840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A2CB3C-AE41-354E-1F89-7A164AC2E6F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11196381">
            <a:off x="-2800074" y="2419994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81BF384-9DF9-C426-0A48-BA81277FEFEA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14796381">
            <a:off x="-2037936" y="804614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66DD5BE-6905-9B1A-D3F7-403B26777714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20196381">
            <a:off x="2108559" y="554770"/>
            <a:ext cx="1879660" cy="362249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92604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9000"/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76B09B-E5E5-D6F7-AA66-9451FCAFAF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A50B69-699C-D835-4CF4-ADB7F089C7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AB71DD-E5C8-7C98-E7FF-69051BB6D4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13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7E02760-80FF-92A8-EDF0-FBCDDA59EDE8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785FEBB-95EE-CCC0-F6A3-A627BE1407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14372" y="-6139448"/>
            <a:ext cx="12306372" cy="27658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E48054C-5F22-C649-36A5-B2570757803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955" t="14922" r="3726" b="1353"/>
          <a:stretch/>
        </p:blipFill>
        <p:spPr>
          <a:xfrm>
            <a:off x="-67345" y="-10522812"/>
            <a:ext cx="12192000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7188618-6490-FE79-EE68-24AE235AB8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9339" y="-7399438"/>
            <a:ext cx="8535417" cy="3140842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256A9439-263E-E5C7-29D5-C67950548DFD}"/>
              </a:ext>
            </a:extLst>
          </p:cNvPr>
          <p:cNvSpPr txBox="1">
            <a:spLocks/>
          </p:cNvSpPr>
          <p:nvPr/>
        </p:nvSpPr>
        <p:spPr>
          <a:xfrm>
            <a:off x="4824503" y="157402"/>
            <a:ext cx="6982680" cy="34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3200" b="0" i="0" u="sng" dirty="0" err="1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Cropwise</a:t>
            </a:r>
            <a:r>
              <a:rPr lang="en-IN" sz="32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 Insights Guide </a:t>
            </a:r>
          </a:p>
          <a:p>
            <a:pPr algn="ctr"/>
            <a:endParaRPr lang="en-IN" sz="3200" b="0" i="0" u="sng" dirty="0">
              <a:solidFill>
                <a:schemeClr val="accent1">
                  <a:lumMod val="90000"/>
                  <a:lumOff val="10000"/>
                </a:schemeClr>
              </a:solidFill>
              <a:effectLst/>
              <a:latin typeface="Comic Sans MS" panose="030F0702030302020204" pitchFamily="66" charset="0"/>
            </a:endParaRPr>
          </a:p>
          <a:p>
            <a:pPr algn="ctr"/>
            <a:r>
              <a:rPr lang="en-IN" b="0" dirty="0">
                <a:solidFill>
                  <a:srgbClr val="00B050"/>
                </a:solidFill>
                <a:effectLst/>
                <a:latin typeface="Comic Sans MS" panose="030F0702030302020204" pitchFamily="66" charset="0"/>
              </a:rPr>
              <a:t>Carlos in Timing the Perfect Crop Harvest for Maximum Yield</a:t>
            </a:r>
            <a:r>
              <a:rPr lang="en-IN" sz="3200" b="0" i="0" dirty="0">
                <a:solidFill>
                  <a:srgbClr val="00B050"/>
                </a:solidFill>
                <a:effectLst/>
                <a:latin typeface="Comic Sans MS" panose="030F0702030302020204" pitchFamily="66" charset="0"/>
              </a:rPr>
              <a:t>.</a:t>
            </a:r>
            <a:endParaRPr lang="en-IN" sz="2000" dirty="0">
              <a:solidFill>
                <a:srgbClr val="00B050"/>
              </a:solidFill>
            </a:endParaRPr>
          </a:p>
        </p:txBody>
      </p:sp>
      <p:pic>
        <p:nvPicPr>
          <p:cNvPr id="6" name="Picture 5" descr="A person driving a tractor&#10;&#10;Description automatically generated">
            <a:extLst>
              <a:ext uri="{FF2B5EF4-FFF2-40B4-BE49-F238E27FC236}">
                <a16:creationId xmlns:a16="http://schemas.microsoft.com/office/drawing/2014/main" id="{67B012FF-E18E-BE7B-BE62-53DF7D7C595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466" y="2291787"/>
            <a:ext cx="3952754" cy="3952754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7" name="Miss Minutes showing">
            <a:extLst>
              <a:ext uri="{FF2B5EF4-FFF2-40B4-BE49-F238E27FC236}">
                <a16:creationId xmlns:a16="http://schemas.microsoft.com/office/drawing/2014/main" id="{D3B7FC33-CA5C-97C7-87D2-799227DBD862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1452" y="4268164"/>
            <a:ext cx="2263203" cy="2035544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A81E42A-7460-F16F-9FBA-F2A84C7DBE6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8782720">
            <a:off x="-2307762" y="3799086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08771CE-0B99-B362-5E7A-C35EF895215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1482720">
            <a:off x="-2781149" y="1912846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A0A5058-40ED-1AAD-48C2-A2E01621CB0E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4182720">
            <a:off x="-1621298" y="388066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DC7805F-9F46-C87C-F687-5E7769C631CD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17782720">
            <a:off x="274347" y="338494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C06B409-A838-B096-2ECA-2CEB23295888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20482720">
            <a:off x="2163972" y="991126"/>
            <a:ext cx="1943653" cy="35703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89E2A63-3F02-633E-8509-C62CF8C392FB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2482720">
            <a:off x="1128598" y="3663821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27883F9-D5AD-16F7-A145-524C2F3223C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6082720">
            <a:off x="-561428" y="4563824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652226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9000"/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1551675-66B7-2744-FA7A-EE48C5B009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1A705E-009F-2782-7101-4DDCDC7D94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E8801E-EB48-FB62-663C-F2341B239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14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E69E165-68D0-77C6-6708-7D04972187B2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24AE7E7-5B36-0D16-8BFA-4038CE804D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14372" y="-6139448"/>
            <a:ext cx="12306372" cy="27658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36CF3302-2E4F-2F4E-46AA-C4AC3FE7AAA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955" t="14922" r="3726" b="1353"/>
          <a:stretch/>
        </p:blipFill>
        <p:spPr>
          <a:xfrm>
            <a:off x="-67345" y="-10522812"/>
            <a:ext cx="12192000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71B8252F-FB54-4FC3-496B-1687614946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9339" y="-7399438"/>
            <a:ext cx="8535417" cy="3140842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FA80592D-BCCC-6761-E186-90E3CDAA6EDA}"/>
              </a:ext>
            </a:extLst>
          </p:cNvPr>
          <p:cNvSpPr txBox="1">
            <a:spLocks/>
          </p:cNvSpPr>
          <p:nvPr/>
        </p:nvSpPr>
        <p:spPr>
          <a:xfrm>
            <a:off x="4927471" y="1413404"/>
            <a:ext cx="6982680" cy="34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3200" b="0" i="0" u="sng" dirty="0" err="1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Cropwise</a:t>
            </a:r>
            <a:r>
              <a:rPr lang="en-IN" sz="32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 Sustainability </a:t>
            </a:r>
          </a:p>
          <a:p>
            <a:pPr algn="ctr"/>
            <a:endParaRPr lang="en-IN" sz="3200" b="0" i="0" u="sng" dirty="0">
              <a:solidFill>
                <a:schemeClr val="accent1">
                  <a:lumMod val="90000"/>
                  <a:lumOff val="10000"/>
                </a:schemeClr>
              </a:solidFill>
              <a:effectLst/>
              <a:latin typeface="Comic Sans MS" panose="030F0702030302020204" pitchFamily="66" charset="0"/>
            </a:endParaRPr>
          </a:p>
          <a:p>
            <a:pPr algn="ctr"/>
            <a:endParaRPr lang="en-IN" sz="3200" b="0" u="sng" dirty="0">
              <a:solidFill>
                <a:schemeClr val="accent1">
                  <a:lumMod val="90000"/>
                  <a:lumOff val="10000"/>
                </a:schemeClr>
              </a:solidFill>
              <a:latin typeface="Comic Sans MS" panose="030F0702030302020204" pitchFamily="66" charset="0"/>
            </a:endParaRPr>
          </a:p>
          <a:p>
            <a:pPr algn="ctr"/>
            <a:r>
              <a:rPr lang="en-IN" b="0" i="0" dirty="0">
                <a:solidFill>
                  <a:srgbClr val="00B050"/>
                </a:solidFill>
                <a:effectLst/>
                <a:latin typeface="Comic Sans MS" panose="030F0702030302020204" pitchFamily="66" charset="0"/>
              </a:rPr>
              <a:t>Elevating Carlos's Farming with Personalized Insights, Community Benchmarking, and Carbon Score Calculations for a Greener Tomorrow</a:t>
            </a:r>
            <a:endParaRPr lang="en-IN" sz="1600" dirty="0">
              <a:solidFill>
                <a:srgbClr val="00B05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13C790-1114-C989-04A2-EF6346A2BE5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20607273">
            <a:off x="1864967" y="593110"/>
            <a:ext cx="2015123" cy="3596229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A6635C4-068A-865F-5400-4BE51ED7816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707273">
            <a:off x="1304536" y="3585228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BF12F30-BC2B-E437-AE25-A65876BB11D6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4407273">
            <a:off x="-341434" y="4703514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4" name="Picture 3" descr="TV gif. SpongeBob sits on the floor in a dark room with his face lit up by a TV screen. He holds a bowl of popcorn in his arms. His eyes are glued to the TV screen, completely captivated by it, as he munches delightfully on the popcorn. ">
            <a:extLst>
              <a:ext uri="{FF2B5EF4-FFF2-40B4-BE49-F238E27FC236}">
                <a16:creationId xmlns:a16="http://schemas.microsoft.com/office/drawing/2014/main" id="{95C83D6A-91EB-07D6-A390-AFA1148A3F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51" t="2061" r="22061" b="3625"/>
          <a:stretch/>
        </p:blipFill>
        <p:spPr bwMode="auto">
          <a:xfrm rot="219958">
            <a:off x="-2846985" y="2457230"/>
            <a:ext cx="1197612" cy="2274709"/>
          </a:xfrm>
          <a:custGeom>
            <a:avLst/>
            <a:gdLst>
              <a:gd name="connsiteX0" fmla="*/ 248974 w 1227379"/>
              <a:gd name="connsiteY0" fmla="*/ 0 h 2331247"/>
              <a:gd name="connsiteX1" fmla="*/ 305602 w 1227379"/>
              <a:gd name="connsiteY1" fmla="*/ 0 h 2331247"/>
              <a:gd name="connsiteX2" fmla="*/ 1213385 w 1227379"/>
              <a:gd name="connsiteY2" fmla="*/ 427027 h 2331247"/>
              <a:gd name="connsiteX3" fmla="*/ 1214763 w 1227379"/>
              <a:gd name="connsiteY3" fmla="*/ 1840351 h 2331247"/>
              <a:gd name="connsiteX4" fmla="*/ 1227379 w 1227379"/>
              <a:gd name="connsiteY4" fmla="*/ 1864058 h 2331247"/>
              <a:gd name="connsiteX5" fmla="*/ 279431 w 1227379"/>
              <a:gd name="connsiteY5" fmla="*/ 2331247 h 2331247"/>
              <a:gd name="connsiteX6" fmla="*/ 143072 w 1227379"/>
              <a:gd name="connsiteY6" fmla="*/ 262824 h 233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7379" h="2331247">
                <a:moveTo>
                  <a:pt x="248974" y="0"/>
                </a:moveTo>
                <a:lnTo>
                  <a:pt x="305602" y="0"/>
                </a:lnTo>
                <a:lnTo>
                  <a:pt x="1213385" y="427027"/>
                </a:lnTo>
                <a:cubicBezTo>
                  <a:pt x="994324" y="892712"/>
                  <a:pt x="1010945" y="1408692"/>
                  <a:pt x="1214763" y="1840351"/>
                </a:cubicBezTo>
                <a:lnTo>
                  <a:pt x="1227379" y="1864058"/>
                </a:lnTo>
                <a:lnTo>
                  <a:pt x="279431" y="2331247"/>
                </a:lnTo>
                <a:cubicBezTo>
                  <a:pt x="-39863" y="1683385"/>
                  <a:pt x="-85815" y="939150"/>
                  <a:pt x="143072" y="26282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B5DDE11-59BA-855D-66C9-AFB15E40822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8007273">
            <a:off x="-2105592" y="4190497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5679E14-3209-693F-8CC6-ED46893BBCA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0707273">
            <a:off x="-2867202" y="2408029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D5EE12F-BDE5-70B5-4045-4ED8E434B6A2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14307273">
            <a:off x="-1974889" y="761478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E153B19-AB93-79A3-6DA5-CC0BD4947206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17907273">
            <a:off x="-239978" y="439664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pic>
        <p:nvPicPr>
          <p:cNvPr id="15" name="Miss Minutes smiling">
            <a:extLst>
              <a:ext uri="{FF2B5EF4-FFF2-40B4-BE49-F238E27FC236}">
                <a16:creationId xmlns:a16="http://schemas.microsoft.com/office/drawing/2014/main" id="{04967758-A81F-FADB-1653-CF2ADEF6732C}"/>
              </a:ext>
            </a:extLst>
          </p:cNvPr>
          <p:cNvPicPr>
            <a:picLocks noChangeAspect="1"/>
          </p:cNvPicPr>
          <p:nvPr/>
        </p:nvPicPr>
        <p:blipFill>
          <a:blip r:embed="rId17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3080" y="4399943"/>
            <a:ext cx="1966132" cy="1918178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4831127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33000"/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9D7A4CD-6324-6CD9-EE19-722300A0E4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9B7672-67C3-CE4A-335F-8BAFB31968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>
                <a:spcAft>
                  <a:spcPts val="600"/>
                </a:spcAft>
              </a:pPr>
              <a:t>15</a:t>
            </a:fld>
            <a:endParaRPr lang="en-GB" noProof="0">
              <a:solidFill>
                <a:srgbClr val="626469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8662B47-B8B6-6398-2AF0-97317CBCA94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11768987">
            <a:off x="380524" y="1751086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05AE9A-DA28-1094-39E7-85868C49956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4468987">
            <a:off x="1525069" y="146323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2DBD3B8-1BE7-40B9-AD42-546A3A86FBC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7168987">
            <a:off x="3428085" y="83774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9" name="pic">
            <a:extLst>
              <a:ext uri="{FF2B5EF4-FFF2-40B4-BE49-F238E27FC236}">
                <a16:creationId xmlns:a16="http://schemas.microsoft.com/office/drawing/2014/main" id="{A45618C4-EE07-458F-FA0D-66E8E949947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20768987">
            <a:off x="4696163" y="1473065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6" name="Picture 15" descr="TV gif. SpongeBob sits on the floor in a dark room with his face lit up by a TV screen. He holds a bowl of popcorn in his arms. His eyes are glued to the TV screen, completely captivated by it, as he munches delightfully on the popcorn. ">
            <a:extLst>
              <a:ext uri="{FF2B5EF4-FFF2-40B4-BE49-F238E27FC236}">
                <a16:creationId xmlns:a16="http://schemas.microsoft.com/office/drawing/2014/main" id="{12D3E08F-95E6-3D39-55AE-4F14F21767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51" t="2061" r="22061" b="3625"/>
          <a:stretch/>
        </p:blipFill>
        <p:spPr bwMode="auto">
          <a:xfrm rot="12971092">
            <a:off x="4423612" y="3387363"/>
            <a:ext cx="1197612" cy="2274709"/>
          </a:xfrm>
          <a:custGeom>
            <a:avLst/>
            <a:gdLst>
              <a:gd name="connsiteX0" fmla="*/ 248974 w 1227379"/>
              <a:gd name="connsiteY0" fmla="*/ 0 h 2331247"/>
              <a:gd name="connsiteX1" fmla="*/ 305602 w 1227379"/>
              <a:gd name="connsiteY1" fmla="*/ 0 h 2331247"/>
              <a:gd name="connsiteX2" fmla="*/ 1213385 w 1227379"/>
              <a:gd name="connsiteY2" fmla="*/ 427027 h 2331247"/>
              <a:gd name="connsiteX3" fmla="*/ 1214763 w 1227379"/>
              <a:gd name="connsiteY3" fmla="*/ 1840351 h 2331247"/>
              <a:gd name="connsiteX4" fmla="*/ 1227379 w 1227379"/>
              <a:gd name="connsiteY4" fmla="*/ 1864058 h 2331247"/>
              <a:gd name="connsiteX5" fmla="*/ 279431 w 1227379"/>
              <a:gd name="connsiteY5" fmla="*/ 2331247 h 2331247"/>
              <a:gd name="connsiteX6" fmla="*/ 143072 w 1227379"/>
              <a:gd name="connsiteY6" fmla="*/ 262824 h 233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7379" h="2331247">
                <a:moveTo>
                  <a:pt x="248974" y="0"/>
                </a:moveTo>
                <a:lnTo>
                  <a:pt x="305602" y="0"/>
                </a:lnTo>
                <a:lnTo>
                  <a:pt x="1213385" y="427027"/>
                </a:lnTo>
                <a:cubicBezTo>
                  <a:pt x="994324" y="892712"/>
                  <a:pt x="1010945" y="1408692"/>
                  <a:pt x="1214763" y="1840351"/>
                </a:cubicBezTo>
                <a:lnTo>
                  <a:pt x="1227379" y="1864058"/>
                </a:lnTo>
                <a:lnTo>
                  <a:pt x="279431" y="2331247"/>
                </a:lnTo>
                <a:cubicBezTo>
                  <a:pt x="-39863" y="1683385"/>
                  <a:pt x="-85815" y="939150"/>
                  <a:pt x="143072" y="26282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ED51DA-8946-1A54-F720-F3E40D954FD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868987">
            <a:off x="4346172" y="3381200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12AC803-1588-B933-8DA2-60BB1522C4C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5468987">
            <a:off x="2705822" y="4284866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B4B6500-E0AD-5781-34E8-BD4993C0936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9068987">
            <a:off x="922381" y="3638677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01D051E-8FDF-E4E7-610C-0BD5FBA2DC23}"/>
              </a:ext>
            </a:extLst>
          </p:cNvPr>
          <p:cNvSpPr txBox="1"/>
          <p:nvPr/>
        </p:nvSpPr>
        <p:spPr>
          <a:xfrm>
            <a:off x="6232650" y="606554"/>
            <a:ext cx="5545746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i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dist="38100" dir="2640000" algn="bl" rotWithShape="0">
                    <a:schemeClr val="accent1"/>
                  </a:outerShdw>
                </a:effectLst>
                <a:latin typeface="Comic Sans MS" panose="030F0702030302020204" pitchFamily="66" charset="0"/>
              </a:rPr>
              <a:t>Syngenta’s Solemnity</a:t>
            </a:r>
          </a:p>
          <a:p>
            <a:pPr algn="ctr"/>
            <a:endParaRPr lang="en-US" sz="4000" b="1" i="0" dirty="0">
              <a:ln w="12700">
                <a:solidFill>
                  <a:schemeClr val="accent1"/>
                </a:solidFill>
                <a:prstDash val="solid"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dist="38100" dir="2640000" algn="bl" rotWithShape="0">
                  <a:schemeClr val="accent1"/>
                </a:outerShdw>
              </a:effectLst>
              <a:latin typeface="Comic Sans MS" panose="030F0702030302020204" pitchFamily="66" charset="0"/>
            </a:endParaRPr>
          </a:p>
          <a:p>
            <a:pPr algn="just"/>
            <a:r>
              <a:rPr lang="en-US" sz="24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dist="38100" dir="2640000" algn="bl" rotWithShape="0">
                    <a:schemeClr val="accent1"/>
                  </a:outerShdw>
                </a:effectLst>
                <a:latin typeface="Comic Sans MS" panose="030F0702030302020204" pitchFamily="66" charset="0"/>
              </a:rPr>
              <a:t>So Carlos, once a humble grower grappling with challenges is now a beacon of success.</a:t>
            </a:r>
          </a:p>
          <a:p>
            <a:pPr algn="just"/>
            <a:endParaRPr lang="en-US" sz="2400" b="1" dirty="0">
              <a:ln w="12700">
                <a:solidFill>
                  <a:schemeClr val="accent1"/>
                </a:solidFill>
                <a:prstDash val="solid"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dist="38100" dir="2640000" algn="bl" rotWithShape="0">
                  <a:schemeClr val="accent1"/>
                </a:outerShdw>
              </a:effectLst>
              <a:latin typeface="Comic Sans MS" panose="030F0702030302020204" pitchFamily="66" charset="0"/>
            </a:endParaRPr>
          </a:p>
          <a:p>
            <a:pPr algn="just"/>
            <a:r>
              <a:rPr lang="en-US" sz="24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dist="38100" dir="2640000" algn="bl" rotWithShape="0">
                    <a:schemeClr val="accent1"/>
                  </a:outerShdw>
                </a:effectLst>
                <a:latin typeface="Comic Sans MS" panose="030F0702030302020204" pitchFamily="66" charset="0"/>
              </a:rPr>
              <a:t>His journey with Syngenta has not only transformed his life but also paving the way for a more sustainable and prosperous future for agriculture in Brazil</a:t>
            </a:r>
            <a:endParaRPr lang="en-IN" sz="2400" b="1" dirty="0">
              <a:ln w="12700">
                <a:solidFill>
                  <a:schemeClr val="accent1"/>
                </a:solidFill>
                <a:prstDash val="solid"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dist="38100" dir="2640000" algn="bl" rotWithShape="0">
                  <a:schemeClr val="accent1"/>
                </a:outerShdw>
              </a:effectLst>
              <a:latin typeface="Comic Sans MS" panose="030F0702030302020204" pitchFamily="66" charset="0"/>
            </a:endParaRPr>
          </a:p>
          <a:p>
            <a:pPr algn="ctr"/>
            <a:endParaRPr lang="en-US" sz="4000" b="1" i="0" dirty="0">
              <a:ln w="12700">
                <a:solidFill>
                  <a:schemeClr val="accent1"/>
                </a:solidFill>
                <a:prstDash val="solid"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dist="38100" dir="2640000" algn="bl" rotWithShape="0">
                  <a:schemeClr val="accent1"/>
                </a:outerShdw>
              </a:effectLst>
              <a:latin typeface="Comic Sans MS" panose="030F0702030302020204" pitchFamily="66" charset="0"/>
            </a:endParaRPr>
          </a:p>
        </p:txBody>
      </p:sp>
      <p:pic>
        <p:nvPicPr>
          <p:cNvPr id="1027" name="Picture 3" descr="Premium AI Image | Smiling farmer standing in wheat field outdoors  generated by AI">
            <a:extLst>
              <a:ext uri="{FF2B5EF4-FFF2-40B4-BE49-F238E27FC236}">
                <a16:creationId xmlns:a16="http://schemas.microsoft.com/office/drawing/2014/main" id="{647602AB-BB21-69FC-06AD-844352372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084" y="1594715"/>
            <a:ext cx="3445182" cy="340995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4139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19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WhatsApp Video 2024-02-21 at 02.02.43_05b082a5 (video-converter.com)">
            <a:hlinkClick r:id="" action="ppaction://media"/>
            <a:extLst>
              <a:ext uri="{FF2B5EF4-FFF2-40B4-BE49-F238E27FC236}">
                <a16:creationId xmlns:a16="http://schemas.microsoft.com/office/drawing/2014/main" id="{B14556C8-B29D-C406-1C99-A1F6F824603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4218509" y="0"/>
            <a:ext cx="4181157" cy="647635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82CDFD-DFBF-3205-E502-0586F3545F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D6F192-7F6F-81A2-078C-7D22619641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>
                <a:spcAft>
                  <a:spcPts val="600"/>
                </a:spcAft>
              </a:pPr>
              <a:t>16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659892D9-752A-3F2B-84DE-F7B46FA0B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2956559"/>
            <a:ext cx="3642949" cy="472441"/>
          </a:xfrm>
        </p:spPr>
        <p:txBody>
          <a:bodyPr/>
          <a:lstStyle/>
          <a:p>
            <a:r>
              <a:rPr lang="en-US" dirty="0"/>
              <a:t>A short reel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or real this time….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6633874F-E8B6-083D-1D1D-B1A7E1077F5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20961290">
            <a:off x="14500467" y="1681962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418911A2-C30D-BA6E-FCC9-7A23813E272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2061290">
            <a:off x="14283444" y="3596294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D22D4181-19FC-DB2B-D3C3-91C49672ACA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4761290">
            <a:off x="12531758" y="4544084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46" name="pic">
            <a:extLst>
              <a:ext uri="{FF2B5EF4-FFF2-40B4-BE49-F238E27FC236}">
                <a16:creationId xmlns:a16="http://schemas.microsoft.com/office/drawing/2014/main" id="{F84C842E-BF37-4B51-17E5-0E292C5B2D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8361290">
            <a:off x="10829172" y="3849217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7AB03B2F-3E6A-A3BF-63DF-08701C0FBAE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1061290">
            <a:off x="9400843" y="1858265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35" name="Picture 34" descr="TV gif. SpongeBob sits on the floor in a dark room with his face lit up by a TV screen. He holds a bowl of popcorn in his arms. His eyes are glued to the TV screen, completely captivated by it, as he munches delightfully on the popcorn. ">
            <a:extLst>
              <a:ext uri="{FF2B5EF4-FFF2-40B4-BE49-F238E27FC236}">
                <a16:creationId xmlns:a16="http://schemas.microsoft.com/office/drawing/2014/main" id="{B4439241-F075-FF82-9AAA-9F875CE54C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51" t="2061" r="22061" b="3625"/>
          <a:stretch/>
        </p:blipFill>
        <p:spPr bwMode="auto">
          <a:xfrm rot="631050">
            <a:off x="9168659" y="1431621"/>
            <a:ext cx="1742133" cy="3308955"/>
          </a:xfrm>
          <a:custGeom>
            <a:avLst/>
            <a:gdLst>
              <a:gd name="connsiteX0" fmla="*/ 248974 w 1227379"/>
              <a:gd name="connsiteY0" fmla="*/ 0 h 2331247"/>
              <a:gd name="connsiteX1" fmla="*/ 305602 w 1227379"/>
              <a:gd name="connsiteY1" fmla="*/ 0 h 2331247"/>
              <a:gd name="connsiteX2" fmla="*/ 1213385 w 1227379"/>
              <a:gd name="connsiteY2" fmla="*/ 427027 h 2331247"/>
              <a:gd name="connsiteX3" fmla="*/ 1214763 w 1227379"/>
              <a:gd name="connsiteY3" fmla="*/ 1840351 h 2331247"/>
              <a:gd name="connsiteX4" fmla="*/ 1227379 w 1227379"/>
              <a:gd name="connsiteY4" fmla="*/ 1864058 h 2331247"/>
              <a:gd name="connsiteX5" fmla="*/ 279431 w 1227379"/>
              <a:gd name="connsiteY5" fmla="*/ 2331247 h 2331247"/>
              <a:gd name="connsiteX6" fmla="*/ 143072 w 1227379"/>
              <a:gd name="connsiteY6" fmla="*/ 262824 h 233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7379" h="2331247">
                <a:moveTo>
                  <a:pt x="248974" y="0"/>
                </a:moveTo>
                <a:lnTo>
                  <a:pt x="305602" y="0"/>
                </a:lnTo>
                <a:lnTo>
                  <a:pt x="1213385" y="427027"/>
                </a:lnTo>
                <a:cubicBezTo>
                  <a:pt x="994324" y="892712"/>
                  <a:pt x="1010945" y="1408692"/>
                  <a:pt x="1214763" y="1840351"/>
                </a:cubicBezTo>
                <a:lnTo>
                  <a:pt x="1227379" y="1864058"/>
                </a:lnTo>
                <a:lnTo>
                  <a:pt x="279431" y="2331247"/>
                </a:lnTo>
                <a:cubicBezTo>
                  <a:pt x="-39863" y="1683385"/>
                  <a:pt x="-85815" y="939150"/>
                  <a:pt x="143072" y="26282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8ABF58AF-5E05-0626-A186-AC6C063825AF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14661290">
            <a:off x="11311854" y="453307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BA3D6D0B-331A-FEEC-4896-A69872B5DC93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18261290">
            <a:off x="13074168" y="307377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448683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984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8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D9DF54-69BF-1AE7-2ABD-CA97B000C4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557FCE-876C-BD3D-77C4-55EBBE7F7B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17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A93E3DFB-E740-6002-3E83-E3EA11295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0879" y="2765473"/>
            <a:ext cx="3642949" cy="472441"/>
          </a:xfrm>
        </p:spPr>
        <p:txBody>
          <a:bodyPr/>
          <a:lstStyle/>
          <a:p>
            <a:r>
              <a:rPr lang="en-US" sz="4000" dirty="0"/>
              <a:t>Thank You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F0222FC6-42C3-2CD8-A58B-34C8893CD1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10990208">
            <a:off x="-12167412" y="2445744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312C98A-9B5C-B7EC-A800-3DC428B19F2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3690208">
            <a:off x="-11409752" y="634755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2A0CD1C-B7CA-05AF-6355-AD215FAE69F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6390208">
            <a:off x="-9572203" y="136535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38" name="pic">
            <a:extLst>
              <a:ext uri="{FF2B5EF4-FFF2-40B4-BE49-F238E27FC236}">
                <a16:creationId xmlns:a16="http://schemas.microsoft.com/office/drawing/2014/main" id="{3F4469BA-2877-1339-1DC7-BE472250966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19990208">
            <a:off x="-8022215" y="1212297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39" name="Picture 38" descr="TV gif. SpongeBob sits on the floor in a dark room with his face lit up by a TV screen. He holds a bowl of popcorn in his arms. His eyes are glued to the TV screen, completely captivated by it, as he munches delightfully on the popcorn. ">
            <a:extLst>
              <a:ext uri="{FF2B5EF4-FFF2-40B4-BE49-F238E27FC236}">
                <a16:creationId xmlns:a16="http://schemas.microsoft.com/office/drawing/2014/main" id="{65243165-6713-29C2-C769-128EEAFDE7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51" t="2061" r="22061" b="3625"/>
          <a:stretch/>
        </p:blipFill>
        <p:spPr bwMode="auto">
          <a:xfrm rot="12192313">
            <a:off x="-7865879" y="3145627"/>
            <a:ext cx="1197612" cy="2274709"/>
          </a:xfrm>
          <a:custGeom>
            <a:avLst/>
            <a:gdLst>
              <a:gd name="connsiteX0" fmla="*/ 248974 w 1227379"/>
              <a:gd name="connsiteY0" fmla="*/ 0 h 2331247"/>
              <a:gd name="connsiteX1" fmla="*/ 305602 w 1227379"/>
              <a:gd name="connsiteY1" fmla="*/ 0 h 2331247"/>
              <a:gd name="connsiteX2" fmla="*/ 1213385 w 1227379"/>
              <a:gd name="connsiteY2" fmla="*/ 427027 h 2331247"/>
              <a:gd name="connsiteX3" fmla="*/ 1214763 w 1227379"/>
              <a:gd name="connsiteY3" fmla="*/ 1840351 h 2331247"/>
              <a:gd name="connsiteX4" fmla="*/ 1227379 w 1227379"/>
              <a:gd name="connsiteY4" fmla="*/ 1864058 h 2331247"/>
              <a:gd name="connsiteX5" fmla="*/ 279431 w 1227379"/>
              <a:gd name="connsiteY5" fmla="*/ 2331247 h 2331247"/>
              <a:gd name="connsiteX6" fmla="*/ 143072 w 1227379"/>
              <a:gd name="connsiteY6" fmla="*/ 262824 h 233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7379" h="2331247">
                <a:moveTo>
                  <a:pt x="248974" y="0"/>
                </a:moveTo>
                <a:lnTo>
                  <a:pt x="305602" y="0"/>
                </a:lnTo>
                <a:lnTo>
                  <a:pt x="1213385" y="427027"/>
                </a:lnTo>
                <a:cubicBezTo>
                  <a:pt x="994324" y="892712"/>
                  <a:pt x="1010945" y="1408692"/>
                  <a:pt x="1214763" y="1840351"/>
                </a:cubicBezTo>
                <a:lnTo>
                  <a:pt x="1227379" y="1864058"/>
                </a:lnTo>
                <a:lnTo>
                  <a:pt x="279431" y="2331247"/>
                </a:lnTo>
                <a:cubicBezTo>
                  <a:pt x="-39863" y="1683385"/>
                  <a:pt x="-85815" y="939150"/>
                  <a:pt x="143072" y="26282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075092A-1FBB-E009-8716-CCC8AD8E62B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090208">
            <a:off x="-7935612" y="3147088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6242189-D394-0961-4017-7C92C0F4CB2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4690208">
            <a:off x="-9331084" y="4396096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16A7FE3-0957-79DF-D263-7260A145646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8290208">
            <a:off x="-11221775" y="4151903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528319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0C6006-5185-79DD-6769-081DD428D1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2E7F2A5A-470E-EB9F-CFA0-1553230B90A5}"/>
              </a:ext>
            </a:extLst>
          </p:cNvPr>
          <p:cNvGrpSpPr/>
          <p:nvPr/>
        </p:nvGrpSpPr>
        <p:grpSpPr>
          <a:xfrm>
            <a:off x="9751128" y="0"/>
            <a:ext cx="2766007" cy="6856412"/>
            <a:chOff x="9751128" y="0"/>
            <a:chExt cx="2766007" cy="6856412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EEBF9AE-10AA-B923-BAEC-38D6580DC9D9}"/>
                </a:ext>
              </a:extLst>
            </p:cNvPr>
            <p:cNvSpPr/>
            <p:nvPr/>
          </p:nvSpPr>
          <p:spPr>
            <a:xfrm rot="5400000">
              <a:off x="7705926" y="2045202"/>
              <a:ext cx="6856412" cy="2766007"/>
            </a:xfrm>
            <a:custGeom>
              <a:avLst/>
              <a:gdLst>
                <a:gd name="connsiteX0" fmla="*/ 0 w 6856412"/>
                <a:gd name="connsiteY0" fmla="*/ 2766007 h 2766007"/>
                <a:gd name="connsiteX1" fmla="*/ 0 w 6856412"/>
                <a:gd name="connsiteY1" fmla="*/ 329900 h 2766007"/>
                <a:gd name="connsiteX2" fmla="*/ 768451 w 6856412"/>
                <a:gd name="connsiteY2" fmla="*/ 329900 h 2766007"/>
                <a:gd name="connsiteX3" fmla="*/ 1143736 w 6856412"/>
                <a:gd name="connsiteY3" fmla="*/ 0 h 2766007"/>
                <a:gd name="connsiteX4" fmla="*/ 1519021 w 6856412"/>
                <a:gd name="connsiteY4" fmla="*/ 329900 h 2766007"/>
                <a:gd name="connsiteX5" fmla="*/ 6856412 w 6856412"/>
                <a:gd name="connsiteY5" fmla="*/ 329900 h 2766007"/>
                <a:gd name="connsiteX6" fmla="*/ 6856412 w 6856412"/>
                <a:gd name="connsiteY6" fmla="*/ 2766007 h 2766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766007">
                  <a:moveTo>
                    <a:pt x="0" y="2766007"/>
                  </a:moveTo>
                  <a:lnTo>
                    <a:pt x="0" y="329900"/>
                  </a:lnTo>
                  <a:lnTo>
                    <a:pt x="768451" y="329900"/>
                  </a:lnTo>
                  <a:lnTo>
                    <a:pt x="1143736" y="0"/>
                  </a:lnTo>
                  <a:lnTo>
                    <a:pt x="1519021" y="329900"/>
                  </a:lnTo>
                  <a:lnTo>
                    <a:pt x="6856412" y="329900"/>
                  </a:lnTo>
                  <a:lnTo>
                    <a:pt x="6856412" y="2766007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BF09E83-5323-6AC6-45EA-8E218355BB1D}"/>
                </a:ext>
              </a:extLst>
            </p:cNvPr>
            <p:cNvSpPr txBox="1"/>
            <p:nvPr/>
          </p:nvSpPr>
          <p:spPr>
            <a:xfrm>
              <a:off x="10348602" y="1275314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400" dirty="0"/>
                <a:t>Until he heard a knock at the door….</a:t>
              </a:r>
            </a:p>
          </p:txBody>
        </p:sp>
        <p:pic>
          <p:nvPicPr>
            <p:cNvPr id="46" name="Graphic 45" descr="Door Open with solid fill">
              <a:extLst>
                <a:ext uri="{FF2B5EF4-FFF2-40B4-BE49-F238E27FC236}">
                  <a16:creationId xmlns:a16="http://schemas.microsoft.com/office/drawing/2014/main" id="{39700FE3-6F46-E8E2-BA34-4E4040D8E1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977185" y="3884141"/>
              <a:ext cx="2066081" cy="2066081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C3257CF-5B3C-0106-709A-920D89372575}"/>
              </a:ext>
            </a:extLst>
          </p:cNvPr>
          <p:cNvGrpSpPr/>
          <p:nvPr/>
        </p:nvGrpSpPr>
        <p:grpSpPr>
          <a:xfrm>
            <a:off x="7315021" y="1588"/>
            <a:ext cx="2793769" cy="6856412"/>
            <a:chOff x="7315021" y="1588"/>
            <a:chExt cx="2793769" cy="6856412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F4DB9EC-22E4-AD10-C899-1AAD7C5B11FE}"/>
                </a:ext>
              </a:extLst>
            </p:cNvPr>
            <p:cNvSpPr/>
            <p:nvPr/>
          </p:nvSpPr>
          <p:spPr>
            <a:xfrm rot="5400000">
              <a:off x="5283700" y="2032909"/>
              <a:ext cx="6856412" cy="2793769"/>
            </a:xfrm>
            <a:custGeom>
              <a:avLst/>
              <a:gdLst>
                <a:gd name="connsiteX0" fmla="*/ 0 w 6856412"/>
                <a:gd name="connsiteY0" fmla="*/ 2793769 h 2793769"/>
                <a:gd name="connsiteX1" fmla="*/ 0 w 6856412"/>
                <a:gd name="connsiteY1" fmla="*/ 357662 h 2793769"/>
                <a:gd name="connsiteX2" fmla="*/ 712420 w 6856412"/>
                <a:gd name="connsiteY2" fmla="*/ 357662 h 2793769"/>
                <a:gd name="connsiteX3" fmla="*/ 1119287 w 6856412"/>
                <a:gd name="connsiteY3" fmla="*/ 0 h 2793769"/>
                <a:gd name="connsiteX4" fmla="*/ 1526153 w 6856412"/>
                <a:gd name="connsiteY4" fmla="*/ 357662 h 2793769"/>
                <a:gd name="connsiteX5" fmla="*/ 6856412 w 6856412"/>
                <a:gd name="connsiteY5" fmla="*/ 357662 h 2793769"/>
                <a:gd name="connsiteX6" fmla="*/ 6856412 w 6856412"/>
                <a:gd name="connsiteY6" fmla="*/ 2793769 h 2793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793769">
                  <a:moveTo>
                    <a:pt x="0" y="2793769"/>
                  </a:moveTo>
                  <a:lnTo>
                    <a:pt x="0" y="357662"/>
                  </a:lnTo>
                  <a:lnTo>
                    <a:pt x="712420" y="357662"/>
                  </a:lnTo>
                  <a:lnTo>
                    <a:pt x="1119287" y="0"/>
                  </a:lnTo>
                  <a:lnTo>
                    <a:pt x="1526153" y="357662"/>
                  </a:lnTo>
                  <a:lnTo>
                    <a:pt x="6856412" y="357662"/>
                  </a:lnTo>
                  <a:lnTo>
                    <a:pt x="6856412" y="2793769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F5C0E99-DE25-354B-8A56-A91EB8BC61C4}"/>
                </a:ext>
              </a:extLst>
            </p:cNvPr>
            <p:cNvSpPr txBox="1"/>
            <p:nvPr/>
          </p:nvSpPr>
          <p:spPr>
            <a:xfrm>
              <a:off x="7907582" y="1143736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It surely gave him a hard time and was definitely a tough season for him </a:t>
              </a:r>
            </a:p>
          </p:txBody>
        </p:sp>
        <p:pic>
          <p:nvPicPr>
            <p:cNvPr id="38" name="Graphic 37" descr="Tired face outline with solid fill">
              <a:extLst>
                <a:ext uri="{FF2B5EF4-FFF2-40B4-BE49-F238E27FC236}">
                  <a16:creationId xmlns:a16="http://schemas.microsoft.com/office/drawing/2014/main" id="{D76B1415-9493-D2CF-4A98-779403D5C64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46181" y="4012393"/>
              <a:ext cx="1960978" cy="1960978"/>
            </a:xfrm>
            <a:prstGeom prst="rect">
              <a:avLst/>
            </a:prstGeom>
          </p:spPr>
        </p:pic>
      </p:grp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7BE17791-2EE3-5DEB-5A61-AC31A1134A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7BE17791-2EE3-5DEB-5A61-AC31A1134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>
            <a:extLst>
              <a:ext uri="{FF2B5EF4-FFF2-40B4-BE49-F238E27FC236}">
                <a16:creationId xmlns:a16="http://schemas.microsoft.com/office/drawing/2014/main" id="{5D6A4B83-9648-11B3-5201-FEDC6E92B450}"/>
              </a:ext>
            </a:extLst>
          </p:cNvPr>
          <p:cNvGrpSpPr/>
          <p:nvPr/>
        </p:nvGrpSpPr>
        <p:grpSpPr>
          <a:xfrm>
            <a:off x="4881724" y="1587"/>
            <a:ext cx="2818998" cy="6856412"/>
            <a:chOff x="4881724" y="1587"/>
            <a:chExt cx="2818998" cy="6856412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9991F5D-0FA1-2D38-743E-6D1A5EB4FBF2}"/>
                </a:ext>
              </a:extLst>
            </p:cNvPr>
            <p:cNvSpPr/>
            <p:nvPr/>
          </p:nvSpPr>
          <p:spPr>
            <a:xfrm rot="5400000">
              <a:off x="2863017" y="2020294"/>
              <a:ext cx="6856412" cy="2818998"/>
            </a:xfrm>
            <a:custGeom>
              <a:avLst/>
              <a:gdLst>
                <a:gd name="connsiteX0" fmla="*/ 0 w 6856412"/>
                <a:gd name="connsiteY0" fmla="*/ 2818998 h 2818998"/>
                <a:gd name="connsiteX1" fmla="*/ 0 w 6856412"/>
                <a:gd name="connsiteY1" fmla="*/ 382891 h 2818998"/>
                <a:gd name="connsiteX2" fmla="*/ 683722 w 6856412"/>
                <a:gd name="connsiteY2" fmla="*/ 382891 h 2818998"/>
                <a:gd name="connsiteX3" fmla="*/ 1119289 w 6856412"/>
                <a:gd name="connsiteY3" fmla="*/ 0 h 2818998"/>
                <a:gd name="connsiteX4" fmla="*/ 1554855 w 6856412"/>
                <a:gd name="connsiteY4" fmla="*/ 382891 h 2818998"/>
                <a:gd name="connsiteX5" fmla="*/ 6856412 w 6856412"/>
                <a:gd name="connsiteY5" fmla="*/ 382891 h 2818998"/>
                <a:gd name="connsiteX6" fmla="*/ 6856412 w 6856412"/>
                <a:gd name="connsiteY6" fmla="*/ 2818998 h 281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818998">
                  <a:moveTo>
                    <a:pt x="0" y="2818998"/>
                  </a:moveTo>
                  <a:lnTo>
                    <a:pt x="0" y="382891"/>
                  </a:lnTo>
                  <a:lnTo>
                    <a:pt x="683722" y="382891"/>
                  </a:lnTo>
                  <a:lnTo>
                    <a:pt x="1119289" y="0"/>
                  </a:lnTo>
                  <a:lnTo>
                    <a:pt x="1554855" y="382891"/>
                  </a:lnTo>
                  <a:lnTo>
                    <a:pt x="6856412" y="382891"/>
                  </a:lnTo>
                  <a:lnTo>
                    <a:pt x="6856412" y="2818998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1644843-7CA7-BB31-0EFE-F1E444F30B8F}"/>
                </a:ext>
              </a:extLst>
            </p:cNvPr>
            <p:cNvSpPr txBox="1"/>
            <p:nvPr/>
          </p:nvSpPr>
          <p:spPr>
            <a:xfrm>
              <a:off x="5466563" y="1020671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He was confident he could handle this land but later which turned into a nightmare</a:t>
              </a:r>
            </a:p>
          </p:txBody>
        </p:sp>
        <p:pic>
          <p:nvPicPr>
            <p:cNvPr id="40" name="Graphic 39" descr="Aspiration with solid fill">
              <a:extLst>
                <a:ext uri="{FF2B5EF4-FFF2-40B4-BE49-F238E27FC236}">
                  <a16:creationId xmlns:a16="http://schemas.microsoft.com/office/drawing/2014/main" id="{96C2519E-CB0F-8F38-85BC-4F383F808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20341" y="4012393"/>
              <a:ext cx="2053521" cy="2053521"/>
            </a:xfrm>
            <a:prstGeom prst="rect">
              <a:avLst/>
            </a:prstGeom>
          </p:spPr>
        </p:pic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263AD9-DF64-9512-6C62-BFD9F36D5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8AFB48-0FFA-68D2-1AB4-C120DDE7FD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2</a:t>
            </a:fld>
            <a:endParaRPr lang="en-GB" dirty="0">
              <a:solidFill>
                <a:srgbClr val="626469"/>
              </a:solidFill>
            </a:endParaRPr>
          </a:p>
        </p:txBody>
      </p:sp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105C993B-CB6F-6682-006F-393A58821B6D}"/>
              </a:ext>
            </a:extLst>
          </p:cNvPr>
          <p:cNvSpPr/>
          <p:nvPr/>
        </p:nvSpPr>
        <p:spPr>
          <a:xfrm>
            <a:off x="3038168" y="1120877"/>
            <a:ext cx="45719" cy="45719"/>
          </a:xfrm>
          <a:prstGeom prst="wedgeRoundRectCallou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18B4B14-9D2A-3F6A-E37A-71CB562E4C87}"/>
              </a:ext>
            </a:extLst>
          </p:cNvPr>
          <p:cNvGrpSpPr/>
          <p:nvPr/>
        </p:nvGrpSpPr>
        <p:grpSpPr>
          <a:xfrm>
            <a:off x="2454721" y="1588"/>
            <a:ext cx="2872264" cy="6856412"/>
            <a:chOff x="2454721" y="1588"/>
            <a:chExt cx="2872264" cy="6856412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5595E6E-1964-A6F0-D427-6C5F79211C7C}"/>
                </a:ext>
              </a:extLst>
            </p:cNvPr>
            <p:cNvSpPr/>
            <p:nvPr/>
          </p:nvSpPr>
          <p:spPr>
            <a:xfrm rot="5400000">
              <a:off x="462647" y="1993662"/>
              <a:ext cx="6856412" cy="2872264"/>
            </a:xfrm>
            <a:custGeom>
              <a:avLst/>
              <a:gdLst>
                <a:gd name="connsiteX0" fmla="*/ 0 w 6856412"/>
                <a:gd name="connsiteY0" fmla="*/ 2872264 h 2872264"/>
                <a:gd name="connsiteX1" fmla="*/ 0 w 6856412"/>
                <a:gd name="connsiteY1" fmla="*/ 436157 h 2872264"/>
                <a:gd name="connsiteX2" fmla="*/ 624715 w 6856412"/>
                <a:gd name="connsiteY2" fmla="*/ 436157 h 2872264"/>
                <a:gd name="connsiteX3" fmla="*/ 1120876 w 6856412"/>
                <a:gd name="connsiteY3" fmla="*/ 0 h 2872264"/>
                <a:gd name="connsiteX4" fmla="*/ 1617036 w 6856412"/>
                <a:gd name="connsiteY4" fmla="*/ 436157 h 2872264"/>
                <a:gd name="connsiteX5" fmla="*/ 6856412 w 6856412"/>
                <a:gd name="connsiteY5" fmla="*/ 436157 h 2872264"/>
                <a:gd name="connsiteX6" fmla="*/ 6856412 w 6856412"/>
                <a:gd name="connsiteY6" fmla="*/ 2872264 h 287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872264">
                  <a:moveTo>
                    <a:pt x="0" y="2872264"/>
                  </a:moveTo>
                  <a:lnTo>
                    <a:pt x="0" y="436157"/>
                  </a:lnTo>
                  <a:lnTo>
                    <a:pt x="624715" y="436157"/>
                  </a:lnTo>
                  <a:lnTo>
                    <a:pt x="1120876" y="0"/>
                  </a:lnTo>
                  <a:lnTo>
                    <a:pt x="1617036" y="436157"/>
                  </a:lnTo>
                  <a:lnTo>
                    <a:pt x="6856412" y="436157"/>
                  </a:lnTo>
                  <a:lnTo>
                    <a:pt x="6856412" y="2872264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F762FAB-0B96-A3FD-31B5-A4F7403C0213}"/>
                </a:ext>
              </a:extLst>
            </p:cNvPr>
            <p:cNvSpPr txBox="1"/>
            <p:nvPr/>
          </p:nvSpPr>
          <p:spPr>
            <a:xfrm>
              <a:off x="2862675" y="820296"/>
              <a:ext cx="1608647" cy="1516284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Until he stumbled upon his inheritance from his family which was 200 Ha</a:t>
              </a:r>
            </a:p>
          </p:txBody>
        </p:sp>
        <p:pic>
          <p:nvPicPr>
            <p:cNvPr id="56" name="Graphic 55" descr="Flying Money with solid fill">
              <a:extLst>
                <a:ext uri="{FF2B5EF4-FFF2-40B4-BE49-F238E27FC236}">
                  <a16:creationId xmlns:a16="http://schemas.microsoft.com/office/drawing/2014/main" id="{F42431F1-F788-FFF6-F7EE-BDED0B8971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838270" y="4103514"/>
              <a:ext cx="1715654" cy="1715654"/>
            </a:xfrm>
            <a:prstGeom prst="rect">
              <a:avLst/>
            </a:prstGeom>
          </p:spPr>
        </p:pic>
      </p:grpSp>
      <p:grpSp>
        <p:nvGrpSpPr>
          <p:cNvPr id="47" name="intro1">
            <a:extLst>
              <a:ext uri="{FF2B5EF4-FFF2-40B4-BE49-F238E27FC236}">
                <a16:creationId xmlns:a16="http://schemas.microsoft.com/office/drawing/2014/main" id="{297FE303-AF84-3CDE-09AB-CC6CE85A4F2D}"/>
              </a:ext>
            </a:extLst>
          </p:cNvPr>
          <p:cNvGrpSpPr/>
          <p:nvPr/>
        </p:nvGrpSpPr>
        <p:grpSpPr>
          <a:xfrm>
            <a:off x="12320" y="1588"/>
            <a:ext cx="2872264" cy="6856412"/>
            <a:chOff x="12320" y="-1"/>
            <a:chExt cx="2872264" cy="6856412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E3963F4-397F-C8E5-4AD9-9963816AF4A1}"/>
                </a:ext>
              </a:extLst>
            </p:cNvPr>
            <p:cNvSpPr/>
            <p:nvPr/>
          </p:nvSpPr>
          <p:spPr>
            <a:xfrm rot="5400000">
              <a:off x="-1979754" y="1992073"/>
              <a:ext cx="6856412" cy="2872264"/>
            </a:xfrm>
            <a:custGeom>
              <a:avLst/>
              <a:gdLst>
                <a:gd name="connsiteX0" fmla="*/ 0 w 6856412"/>
                <a:gd name="connsiteY0" fmla="*/ 2872264 h 2872264"/>
                <a:gd name="connsiteX1" fmla="*/ 0 w 6856412"/>
                <a:gd name="connsiteY1" fmla="*/ 436157 h 2872264"/>
                <a:gd name="connsiteX2" fmla="*/ 624715 w 6856412"/>
                <a:gd name="connsiteY2" fmla="*/ 436157 h 2872264"/>
                <a:gd name="connsiteX3" fmla="*/ 1120876 w 6856412"/>
                <a:gd name="connsiteY3" fmla="*/ 0 h 2872264"/>
                <a:gd name="connsiteX4" fmla="*/ 1617036 w 6856412"/>
                <a:gd name="connsiteY4" fmla="*/ 436157 h 2872264"/>
                <a:gd name="connsiteX5" fmla="*/ 6856412 w 6856412"/>
                <a:gd name="connsiteY5" fmla="*/ 436157 h 2872264"/>
                <a:gd name="connsiteX6" fmla="*/ 6856412 w 6856412"/>
                <a:gd name="connsiteY6" fmla="*/ 2872264 h 287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872264">
                  <a:moveTo>
                    <a:pt x="0" y="2872264"/>
                  </a:moveTo>
                  <a:lnTo>
                    <a:pt x="0" y="436157"/>
                  </a:lnTo>
                  <a:lnTo>
                    <a:pt x="624715" y="436157"/>
                  </a:lnTo>
                  <a:lnTo>
                    <a:pt x="1120876" y="0"/>
                  </a:lnTo>
                  <a:lnTo>
                    <a:pt x="1617036" y="436157"/>
                  </a:lnTo>
                  <a:lnTo>
                    <a:pt x="6856412" y="436157"/>
                  </a:lnTo>
                  <a:lnTo>
                    <a:pt x="6856412" y="2872264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9D3C2FC-6380-2899-D9C2-D3F06A36B931}"/>
                </a:ext>
              </a:extLst>
            </p:cNvPr>
            <p:cNvSpPr txBox="1"/>
            <p:nvPr/>
          </p:nvSpPr>
          <p:spPr>
            <a:xfrm>
              <a:off x="420274" y="818707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Carlos is a small-scale grower in Brazil, having land of 30 Ha </a:t>
              </a:r>
            </a:p>
          </p:txBody>
        </p:sp>
        <p:pic>
          <p:nvPicPr>
            <p:cNvPr id="9218" name="Picture 2" descr="Rio de Janeiro | Pop Art | Brazilian Art Brazilian Art - Pop… | Flickr">
              <a:extLst>
                <a:ext uri="{FF2B5EF4-FFF2-40B4-BE49-F238E27FC236}">
                  <a16:creationId xmlns:a16="http://schemas.microsoft.com/office/drawing/2014/main" id="{3199D2CA-FECF-F6A6-B2BE-47B4D1976C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819" y="4181327"/>
              <a:ext cx="2129027" cy="1556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483FCDF0-4F13-6EF4-8741-28A00909CC73}"/>
              </a:ext>
            </a:extLst>
          </p:cNvPr>
          <p:cNvSpPr txBox="1"/>
          <p:nvPr/>
        </p:nvSpPr>
        <p:spPr>
          <a:xfrm rot="19045743">
            <a:off x="14536497" y="554887"/>
            <a:ext cx="2372483" cy="2047101"/>
          </a:xfrm>
          <a:custGeom>
            <a:avLst/>
            <a:gdLst/>
            <a:ahLst/>
            <a:cxnLst/>
            <a:rect l="l" t="t" r="r" b="b"/>
            <a:pathLst>
              <a:path w="5509311" h="4258596">
                <a:moveTo>
                  <a:pt x="4641069" y="3204476"/>
                </a:moveTo>
                <a:cubicBezTo>
                  <a:pt x="4632809" y="3204476"/>
                  <a:pt x="4625498" y="3207378"/>
                  <a:pt x="4619135" y="3213182"/>
                </a:cubicBezTo>
                <a:cubicBezTo>
                  <a:pt x="4612773" y="3218986"/>
                  <a:pt x="4609592" y="3225907"/>
                  <a:pt x="4609592" y="3233944"/>
                </a:cubicBezTo>
                <a:cubicBezTo>
                  <a:pt x="4609592" y="3243096"/>
                  <a:pt x="4613945" y="3253142"/>
                  <a:pt x="4622652" y="3264081"/>
                </a:cubicBezTo>
                <a:cubicBezTo>
                  <a:pt x="4631581" y="3275690"/>
                  <a:pt x="4640511" y="3281494"/>
                  <a:pt x="4649441" y="3281494"/>
                </a:cubicBezTo>
                <a:cubicBezTo>
                  <a:pt x="4657477" y="3281494"/>
                  <a:pt x="4664677" y="3278536"/>
                  <a:pt x="4671039" y="3272620"/>
                </a:cubicBezTo>
                <a:cubicBezTo>
                  <a:pt x="4677402" y="3266704"/>
                  <a:pt x="4680583" y="3259728"/>
                  <a:pt x="4680583" y="3251691"/>
                </a:cubicBezTo>
                <a:cubicBezTo>
                  <a:pt x="4680583" y="3242762"/>
                  <a:pt x="4676341" y="3232827"/>
                  <a:pt x="4667858" y="3221888"/>
                </a:cubicBezTo>
                <a:cubicBezTo>
                  <a:pt x="4658705" y="3210280"/>
                  <a:pt x="4649775" y="3204476"/>
                  <a:pt x="4641069" y="3204476"/>
                </a:cubicBezTo>
                <a:close/>
                <a:moveTo>
                  <a:pt x="4479144" y="3204476"/>
                </a:moveTo>
                <a:cubicBezTo>
                  <a:pt x="4470884" y="3204476"/>
                  <a:pt x="4463573" y="3207378"/>
                  <a:pt x="4457210" y="3213182"/>
                </a:cubicBezTo>
                <a:cubicBezTo>
                  <a:pt x="4450848" y="3218986"/>
                  <a:pt x="4447667" y="3225907"/>
                  <a:pt x="4447667" y="3233944"/>
                </a:cubicBezTo>
                <a:cubicBezTo>
                  <a:pt x="4447667" y="3243096"/>
                  <a:pt x="4452020" y="3253142"/>
                  <a:pt x="4460727" y="3264081"/>
                </a:cubicBezTo>
                <a:cubicBezTo>
                  <a:pt x="4469656" y="3275690"/>
                  <a:pt x="4478586" y="3281494"/>
                  <a:pt x="4487516" y="3281494"/>
                </a:cubicBezTo>
                <a:cubicBezTo>
                  <a:pt x="4495552" y="3281494"/>
                  <a:pt x="4502752" y="3278536"/>
                  <a:pt x="4509114" y="3272620"/>
                </a:cubicBezTo>
                <a:cubicBezTo>
                  <a:pt x="4515477" y="3266704"/>
                  <a:pt x="4518658" y="3259728"/>
                  <a:pt x="4518658" y="3251691"/>
                </a:cubicBezTo>
                <a:cubicBezTo>
                  <a:pt x="4518658" y="3242762"/>
                  <a:pt x="4514416" y="3232827"/>
                  <a:pt x="4505933" y="3221888"/>
                </a:cubicBezTo>
                <a:cubicBezTo>
                  <a:pt x="4496780" y="3210280"/>
                  <a:pt x="4487850" y="3204476"/>
                  <a:pt x="4479144" y="3204476"/>
                </a:cubicBezTo>
                <a:close/>
                <a:moveTo>
                  <a:pt x="4317219" y="3204476"/>
                </a:moveTo>
                <a:cubicBezTo>
                  <a:pt x="4308959" y="3204476"/>
                  <a:pt x="4301648" y="3207378"/>
                  <a:pt x="4295285" y="3213182"/>
                </a:cubicBezTo>
                <a:cubicBezTo>
                  <a:pt x="4288923" y="3218986"/>
                  <a:pt x="4285742" y="3225907"/>
                  <a:pt x="4285742" y="3233944"/>
                </a:cubicBezTo>
                <a:cubicBezTo>
                  <a:pt x="4285742" y="3243096"/>
                  <a:pt x="4290095" y="3253142"/>
                  <a:pt x="4298801" y="3264081"/>
                </a:cubicBezTo>
                <a:cubicBezTo>
                  <a:pt x="4307731" y="3275690"/>
                  <a:pt x="4316661" y="3281494"/>
                  <a:pt x="4325591" y="3281494"/>
                </a:cubicBezTo>
                <a:cubicBezTo>
                  <a:pt x="4333627" y="3281494"/>
                  <a:pt x="4340827" y="3278536"/>
                  <a:pt x="4347189" y="3272620"/>
                </a:cubicBezTo>
                <a:cubicBezTo>
                  <a:pt x="4353552" y="3266704"/>
                  <a:pt x="4356733" y="3259728"/>
                  <a:pt x="4356733" y="3251691"/>
                </a:cubicBezTo>
                <a:cubicBezTo>
                  <a:pt x="4356733" y="3242762"/>
                  <a:pt x="4352491" y="3232827"/>
                  <a:pt x="4344008" y="3221888"/>
                </a:cubicBezTo>
                <a:cubicBezTo>
                  <a:pt x="4334855" y="3210280"/>
                  <a:pt x="4325925" y="3204476"/>
                  <a:pt x="4317219" y="3204476"/>
                </a:cubicBezTo>
                <a:close/>
                <a:moveTo>
                  <a:pt x="3713870" y="2980117"/>
                </a:moveTo>
                <a:cubicBezTo>
                  <a:pt x="3763653" y="2980340"/>
                  <a:pt x="3786981" y="3023649"/>
                  <a:pt x="3783856" y="3110044"/>
                </a:cubicBezTo>
                <a:cubicBezTo>
                  <a:pt x="3782740" y="3141968"/>
                  <a:pt x="3772694" y="3167306"/>
                  <a:pt x="3753718" y="3186058"/>
                </a:cubicBezTo>
                <a:cubicBezTo>
                  <a:pt x="3736975" y="3203024"/>
                  <a:pt x="3716995" y="3211508"/>
                  <a:pt x="3693778" y="3211508"/>
                </a:cubicBezTo>
                <a:cubicBezTo>
                  <a:pt x="3673909" y="3211508"/>
                  <a:pt x="3656608" y="3204029"/>
                  <a:pt x="3641874" y="3189072"/>
                </a:cubicBezTo>
                <a:cubicBezTo>
                  <a:pt x="3624238" y="3170989"/>
                  <a:pt x="3615420" y="3145763"/>
                  <a:pt x="3615420" y="3113393"/>
                </a:cubicBezTo>
                <a:cubicBezTo>
                  <a:pt x="3615420" y="3081023"/>
                  <a:pt x="3622675" y="3052224"/>
                  <a:pt x="3637186" y="3026998"/>
                </a:cubicBezTo>
                <a:cubicBezTo>
                  <a:pt x="3655492" y="2995521"/>
                  <a:pt x="3681053" y="2979894"/>
                  <a:pt x="3713870" y="2980117"/>
                </a:cubicBezTo>
                <a:close/>
                <a:moveTo>
                  <a:pt x="637295" y="2980117"/>
                </a:moveTo>
                <a:cubicBezTo>
                  <a:pt x="687078" y="2980340"/>
                  <a:pt x="710407" y="3023649"/>
                  <a:pt x="707281" y="3110044"/>
                </a:cubicBezTo>
                <a:cubicBezTo>
                  <a:pt x="706165" y="3141968"/>
                  <a:pt x="696119" y="3167306"/>
                  <a:pt x="677144" y="3186058"/>
                </a:cubicBezTo>
                <a:cubicBezTo>
                  <a:pt x="660401" y="3203024"/>
                  <a:pt x="640420" y="3211508"/>
                  <a:pt x="617203" y="3211508"/>
                </a:cubicBezTo>
                <a:cubicBezTo>
                  <a:pt x="597334" y="3211508"/>
                  <a:pt x="580033" y="3204029"/>
                  <a:pt x="565299" y="3189072"/>
                </a:cubicBezTo>
                <a:cubicBezTo>
                  <a:pt x="547663" y="3170989"/>
                  <a:pt x="538845" y="3145763"/>
                  <a:pt x="538845" y="3113393"/>
                </a:cubicBezTo>
                <a:cubicBezTo>
                  <a:pt x="538845" y="3081023"/>
                  <a:pt x="546100" y="3052224"/>
                  <a:pt x="560611" y="3026998"/>
                </a:cubicBezTo>
                <a:cubicBezTo>
                  <a:pt x="578917" y="2995521"/>
                  <a:pt x="604478" y="2979894"/>
                  <a:pt x="637295" y="2980117"/>
                </a:cubicBezTo>
                <a:close/>
                <a:moveTo>
                  <a:pt x="1374105" y="2970071"/>
                </a:moveTo>
                <a:cubicBezTo>
                  <a:pt x="1384375" y="2970071"/>
                  <a:pt x="1394309" y="2971746"/>
                  <a:pt x="1403908" y="2975094"/>
                </a:cubicBezTo>
                <a:cubicBezTo>
                  <a:pt x="1413508" y="2978443"/>
                  <a:pt x="1422773" y="2983577"/>
                  <a:pt x="1431702" y="2990498"/>
                </a:cubicBezTo>
                <a:cubicBezTo>
                  <a:pt x="1426344" y="3042067"/>
                  <a:pt x="1421321" y="3079906"/>
                  <a:pt x="1416633" y="3104017"/>
                </a:cubicBezTo>
                <a:cubicBezTo>
                  <a:pt x="1413954" y="3127011"/>
                  <a:pt x="1403015" y="3150228"/>
                  <a:pt x="1383817" y="3173668"/>
                </a:cubicBezTo>
                <a:cubicBezTo>
                  <a:pt x="1362609" y="3199118"/>
                  <a:pt x="1340731" y="3211843"/>
                  <a:pt x="1318183" y="3211843"/>
                </a:cubicBezTo>
                <a:cubicBezTo>
                  <a:pt x="1293627" y="3211843"/>
                  <a:pt x="1275209" y="3203694"/>
                  <a:pt x="1262931" y="3187398"/>
                </a:cubicBezTo>
                <a:cubicBezTo>
                  <a:pt x="1250653" y="3171101"/>
                  <a:pt x="1244513" y="3146767"/>
                  <a:pt x="1244513" y="3114397"/>
                </a:cubicBezTo>
                <a:cubicBezTo>
                  <a:pt x="1244513" y="3073767"/>
                  <a:pt x="1254894" y="3040281"/>
                  <a:pt x="1275656" y="3013938"/>
                </a:cubicBezTo>
                <a:cubicBezTo>
                  <a:pt x="1298873" y="2984694"/>
                  <a:pt x="1331690" y="2970071"/>
                  <a:pt x="1374105" y="2970071"/>
                </a:cubicBezTo>
                <a:close/>
                <a:moveTo>
                  <a:pt x="2658269" y="2969736"/>
                </a:moveTo>
                <a:cubicBezTo>
                  <a:pt x="2692872" y="2969736"/>
                  <a:pt x="2719772" y="2978666"/>
                  <a:pt x="2738971" y="2996525"/>
                </a:cubicBezTo>
                <a:cubicBezTo>
                  <a:pt x="2721781" y="3011036"/>
                  <a:pt x="2692983" y="3028114"/>
                  <a:pt x="2652576" y="3047760"/>
                </a:cubicBezTo>
                <a:lnTo>
                  <a:pt x="2549773" y="3096650"/>
                </a:lnTo>
                <a:cubicBezTo>
                  <a:pt x="2558703" y="3054234"/>
                  <a:pt x="2572209" y="3022477"/>
                  <a:pt x="2590292" y="3001381"/>
                </a:cubicBezTo>
                <a:cubicBezTo>
                  <a:pt x="2608374" y="2980285"/>
                  <a:pt x="2631033" y="2969736"/>
                  <a:pt x="2658269" y="2969736"/>
                </a:cubicBezTo>
                <a:close/>
                <a:moveTo>
                  <a:pt x="3046152" y="2969067"/>
                </a:moveTo>
                <a:cubicBezTo>
                  <a:pt x="3049724" y="2969067"/>
                  <a:pt x="3054468" y="2970071"/>
                  <a:pt x="3060384" y="2972080"/>
                </a:cubicBezTo>
                <a:cubicBezTo>
                  <a:pt x="3066300" y="2974090"/>
                  <a:pt x="3073388" y="2977215"/>
                  <a:pt x="3081648" y="2981457"/>
                </a:cubicBezTo>
                <a:cubicBezTo>
                  <a:pt x="3079192" y="2994181"/>
                  <a:pt x="3077350" y="3006181"/>
                  <a:pt x="3076123" y="3017454"/>
                </a:cubicBezTo>
                <a:cubicBezTo>
                  <a:pt x="3074895" y="3028728"/>
                  <a:pt x="3074281" y="3039165"/>
                  <a:pt x="3074281" y="3048764"/>
                </a:cubicBezTo>
                <a:cubicBezTo>
                  <a:pt x="3074281" y="3078232"/>
                  <a:pt x="3077853" y="3122546"/>
                  <a:pt x="3084996" y="3181705"/>
                </a:cubicBezTo>
                <a:cubicBezTo>
                  <a:pt x="3070486" y="3194430"/>
                  <a:pt x="3059212" y="3202913"/>
                  <a:pt x="3051175" y="3207154"/>
                </a:cubicBezTo>
                <a:cubicBezTo>
                  <a:pt x="3036218" y="3214968"/>
                  <a:pt x="3018024" y="3218875"/>
                  <a:pt x="2996593" y="3218875"/>
                </a:cubicBezTo>
                <a:cubicBezTo>
                  <a:pt x="2970696" y="3218875"/>
                  <a:pt x="2951274" y="3209722"/>
                  <a:pt x="2938326" y="3191416"/>
                </a:cubicBezTo>
                <a:cubicBezTo>
                  <a:pt x="2925378" y="3173110"/>
                  <a:pt x="2918904" y="3145651"/>
                  <a:pt x="2918904" y="3109040"/>
                </a:cubicBezTo>
                <a:cubicBezTo>
                  <a:pt x="2918904" y="3072205"/>
                  <a:pt x="2931462" y="3039667"/>
                  <a:pt x="2956576" y="3011427"/>
                </a:cubicBezTo>
                <a:cubicBezTo>
                  <a:pt x="2981691" y="2983187"/>
                  <a:pt x="3011550" y="2969067"/>
                  <a:pt x="3046152" y="2969067"/>
                </a:cubicBezTo>
                <a:close/>
                <a:moveTo>
                  <a:pt x="1377454" y="2916493"/>
                </a:moveTo>
                <a:cubicBezTo>
                  <a:pt x="1315839" y="2916493"/>
                  <a:pt x="1267172" y="2935469"/>
                  <a:pt x="1231454" y="2973420"/>
                </a:cubicBezTo>
                <a:cubicBezTo>
                  <a:pt x="1196851" y="3010255"/>
                  <a:pt x="1179550" y="3058810"/>
                  <a:pt x="1179550" y="3119085"/>
                </a:cubicBezTo>
                <a:cubicBezTo>
                  <a:pt x="1179550" y="3163064"/>
                  <a:pt x="1192219" y="3198839"/>
                  <a:pt x="1217557" y="3226409"/>
                </a:cubicBezTo>
                <a:cubicBezTo>
                  <a:pt x="1242895" y="3253980"/>
                  <a:pt x="1275768" y="3267765"/>
                  <a:pt x="1316174" y="3267765"/>
                </a:cubicBezTo>
                <a:cubicBezTo>
                  <a:pt x="1337606" y="3267765"/>
                  <a:pt x="1356637" y="3262184"/>
                  <a:pt x="1373268" y="3251022"/>
                </a:cubicBezTo>
                <a:cubicBezTo>
                  <a:pt x="1389900" y="3239859"/>
                  <a:pt x="1404243" y="3223116"/>
                  <a:pt x="1416298" y="3200792"/>
                </a:cubicBezTo>
                <a:cubicBezTo>
                  <a:pt x="1415629" y="3257272"/>
                  <a:pt x="1409936" y="3299130"/>
                  <a:pt x="1399220" y="3326366"/>
                </a:cubicBezTo>
                <a:cubicBezTo>
                  <a:pt x="1382924" y="3367219"/>
                  <a:pt x="1353344" y="3387981"/>
                  <a:pt x="1310482" y="3388650"/>
                </a:cubicBezTo>
                <a:cubicBezTo>
                  <a:pt x="1287711" y="3389097"/>
                  <a:pt x="1266949" y="3387367"/>
                  <a:pt x="1248197" y="3383460"/>
                </a:cubicBezTo>
                <a:cubicBezTo>
                  <a:pt x="1229445" y="3379553"/>
                  <a:pt x="1216050" y="3377600"/>
                  <a:pt x="1208013" y="3377600"/>
                </a:cubicBezTo>
                <a:cubicBezTo>
                  <a:pt x="1188591" y="3377600"/>
                  <a:pt x="1178880" y="3387534"/>
                  <a:pt x="1178880" y="3407403"/>
                </a:cubicBezTo>
                <a:cubicBezTo>
                  <a:pt x="1178880" y="3425039"/>
                  <a:pt x="1192945" y="3436647"/>
                  <a:pt x="1221073" y="3442228"/>
                </a:cubicBezTo>
                <a:cubicBezTo>
                  <a:pt x="1241165" y="3446247"/>
                  <a:pt x="1266056" y="3448256"/>
                  <a:pt x="1295748" y="3448256"/>
                </a:cubicBezTo>
                <a:cubicBezTo>
                  <a:pt x="1346424" y="3448256"/>
                  <a:pt x="1385156" y="3437875"/>
                  <a:pt x="1411945" y="3417114"/>
                </a:cubicBezTo>
                <a:cubicBezTo>
                  <a:pt x="1434046" y="3399924"/>
                  <a:pt x="1450120" y="3373247"/>
                  <a:pt x="1460165" y="3337081"/>
                </a:cubicBezTo>
                <a:cubicBezTo>
                  <a:pt x="1467979" y="3308730"/>
                  <a:pt x="1472555" y="3272230"/>
                  <a:pt x="1473895" y="3227581"/>
                </a:cubicBezTo>
                <a:lnTo>
                  <a:pt x="1481597" y="3115067"/>
                </a:lnTo>
                <a:cubicBezTo>
                  <a:pt x="1482490" y="3103905"/>
                  <a:pt x="1485503" y="3082920"/>
                  <a:pt x="1490638" y="3052113"/>
                </a:cubicBezTo>
                <a:cubicBezTo>
                  <a:pt x="1495326" y="3025547"/>
                  <a:pt x="1497670" y="3004339"/>
                  <a:pt x="1497670" y="2988489"/>
                </a:cubicBezTo>
                <a:cubicBezTo>
                  <a:pt x="1497670" y="2962593"/>
                  <a:pt x="1485727" y="2949310"/>
                  <a:pt x="1461840" y="2948640"/>
                </a:cubicBezTo>
                <a:cubicBezTo>
                  <a:pt x="1454473" y="2937924"/>
                  <a:pt x="1443757" y="2929888"/>
                  <a:pt x="1429693" y="2924530"/>
                </a:cubicBezTo>
                <a:cubicBezTo>
                  <a:pt x="1415629" y="2919172"/>
                  <a:pt x="1398216" y="2916493"/>
                  <a:pt x="1377454" y="2916493"/>
                </a:cubicBezTo>
                <a:close/>
                <a:moveTo>
                  <a:pt x="3718223" y="2912140"/>
                </a:moveTo>
                <a:cubicBezTo>
                  <a:pt x="3662412" y="2912140"/>
                  <a:pt x="3618880" y="2934799"/>
                  <a:pt x="3587626" y="2980117"/>
                </a:cubicBezTo>
                <a:cubicBezTo>
                  <a:pt x="3560837" y="3018515"/>
                  <a:pt x="3548112" y="3062940"/>
                  <a:pt x="3549452" y="3113393"/>
                </a:cubicBezTo>
                <a:cubicBezTo>
                  <a:pt x="3551014" y="3165408"/>
                  <a:pt x="3566865" y="3206820"/>
                  <a:pt x="3597002" y="3237627"/>
                </a:cubicBezTo>
                <a:cubicBezTo>
                  <a:pt x="3624015" y="3265309"/>
                  <a:pt x="3656273" y="3279150"/>
                  <a:pt x="3693778" y="3279150"/>
                </a:cubicBezTo>
                <a:cubicBezTo>
                  <a:pt x="3740882" y="3279150"/>
                  <a:pt x="3778722" y="3259282"/>
                  <a:pt x="3807297" y="3219544"/>
                </a:cubicBezTo>
                <a:cubicBezTo>
                  <a:pt x="3832523" y="3184495"/>
                  <a:pt x="3845471" y="3142191"/>
                  <a:pt x="3846141" y="3092631"/>
                </a:cubicBezTo>
                <a:cubicBezTo>
                  <a:pt x="3846810" y="3046197"/>
                  <a:pt x="3837992" y="3006460"/>
                  <a:pt x="3819686" y="2973420"/>
                </a:cubicBezTo>
                <a:cubicBezTo>
                  <a:pt x="3796693" y="2932567"/>
                  <a:pt x="3762871" y="2912140"/>
                  <a:pt x="3718223" y="2912140"/>
                </a:cubicBezTo>
                <a:close/>
                <a:moveTo>
                  <a:pt x="641648" y="2912140"/>
                </a:moveTo>
                <a:cubicBezTo>
                  <a:pt x="585837" y="2912140"/>
                  <a:pt x="542305" y="2934799"/>
                  <a:pt x="511051" y="2980117"/>
                </a:cubicBezTo>
                <a:cubicBezTo>
                  <a:pt x="484262" y="3018515"/>
                  <a:pt x="471537" y="3062940"/>
                  <a:pt x="472877" y="3113393"/>
                </a:cubicBezTo>
                <a:cubicBezTo>
                  <a:pt x="474440" y="3165408"/>
                  <a:pt x="490290" y="3206820"/>
                  <a:pt x="520427" y="3237627"/>
                </a:cubicBezTo>
                <a:cubicBezTo>
                  <a:pt x="547440" y="3265309"/>
                  <a:pt x="579698" y="3279150"/>
                  <a:pt x="617203" y="3279150"/>
                </a:cubicBezTo>
                <a:cubicBezTo>
                  <a:pt x="664307" y="3279150"/>
                  <a:pt x="702147" y="3259282"/>
                  <a:pt x="730722" y="3219544"/>
                </a:cubicBezTo>
                <a:cubicBezTo>
                  <a:pt x="755948" y="3184495"/>
                  <a:pt x="768896" y="3142191"/>
                  <a:pt x="769566" y="3092631"/>
                </a:cubicBezTo>
                <a:cubicBezTo>
                  <a:pt x="770236" y="3046197"/>
                  <a:pt x="761418" y="3006460"/>
                  <a:pt x="743111" y="2973420"/>
                </a:cubicBezTo>
                <a:cubicBezTo>
                  <a:pt x="720118" y="2932567"/>
                  <a:pt x="686297" y="2912140"/>
                  <a:pt x="641648" y="2912140"/>
                </a:cubicBezTo>
                <a:close/>
                <a:moveTo>
                  <a:pt x="3041799" y="2909796"/>
                </a:moveTo>
                <a:cubicBezTo>
                  <a:pt x="2990230" y="2909796"/>
                  <a:pt x="2945861" y="2928995"/>
                  <a:pt x="2908691" y="2967392"/>
                </a:cubicBezTo>
                <a:cubicBezTo>
                  <a:pt x="2871521" y="3005790"/>
                  <a:pt x="2852936" y="3052001"/>
                  <a:pt x="2852936" y="3106026"/>
                </a:cubicBezTo>
                <a:cubicBezTo>
                  <a:pt x="2852936" y="3163176"/>
                  <a:pt x="2864210" y="3205592"/>
                  <a:pt x="2886757" y="3233274"/>
                </a:cubicBezTo>
                <a:cubicBezTo>
                  <a:pt x="2910644" y="3262742"/>
                  <a:pt x="2948707" y="3277476"/>
                  <a:pt x="3000946" y="3277476"/>
                </a:cubicBezTo>
                <a:cubicBezTo>
                  <a:pt x="3011885" y="3277476"/>
                  <a:pt x="3025502" y="3274518"/>
                  <a:pt x="3041799" y="3268602"/>
                </a:cubicBezTo>
                <a:cubicBezTo>
                  <a:pt x="3058096" y="3262686"/>
                  <a:pt x="3076960" y="3253924"/>
                  <a:pt x="3098391" y="3242315"/>
                </a:cubicBezTo>
                <a:cubicBezTo>
                  <a:pt x="3103302" y="3249459"/>
                  <a:pt x="3110781" y="3257607"/>
                  <a:pt x="3120827" y="3266760"/>
                </a:cubicBezTo>
                <a:cubicBezTo>
                  <a:pt x="3131989" y="3276583"/>
                  <a:pt x="3139691" y="3281494"/>
                  <a:pt x="3143932" y="3281494"/>
                </a:cubicBezTo>
                <a:cubicBezTo>
                  <a:pt x="3152192" y="3281494"/>
                  <a:pt x="3159448" y="3278592"/>
                  <a:pt x="3165698" y="3272788"/>
                </a:cubicBezTo>
                <a:cubicBezTo>
                  <a:pt x="3171949" y="3266983"/>
                  <a:pt x="3175075" y="3259616"/>
                  <a:pt x="3175075" y="3250687"/>
                </a:cubicBezTo>
                <a:lnTo>
                  <a:pt x="3173065" y="3244994"/>
                </a:lnTo>
                <a:cubicBezTo>
                  <a:pt x="3169494" y="3237181"/>
                  <a:pt x="3166926" y="3231265"/>
                  <a:pt x="3165364" y="3227246"/>
                </a:cubicBezTo>
                <a:cubicBezTo>
                  <a:pt x="3153532" y="3197778"/>
                  <a:pt x="3146500" y="3178133"/>
                  <a:pt x="3144267" y="3168310"/>
                </a:cubicBezTo>
                <a:cubicBezTo>
                  <a:pt x="3140249" y="3152237"/>
                  <a:pt x="3138351" y="3130359"/>
                  <a:pt x="3138575" y="3102677"/>
                </a:cubicBezTo>
                <a:cubicBezTo>
                  <a:pt x="3138798" y="3072316"/>
                  <a:pt x="3139523" y="3047425"/>
                  <a:pt x="3140751" y="3028003"/>
                </a:cubicBezTo>
                <a:cubicBezTo>
                  <a:pt x="3141979" y="3008581"/>
                  <a:pt x="3143709" y="2994628"/>
                  <a:pt x="3145942" y="2986145"/>
                </a:cubicBezTo>
                <a:cubicBezTo>
                  <a:pt x="3150406" y="2981457"/>
                  <a:pt x="3152639" y="2976099"/>
                  <a:pt x="3152639" y="2970071"/>
                </a:cubicBezTo>
                <a:cubicBezTo>
                  <a:pt x="3152639" y="2952435"/>
                  <a:pt x="3137458" y="2937366"/>
                  <a:pt x="3107097" y="2924865"/>
                </a:cubicBezTo>
                <a:cubicBezTo>
                  <a:pt x="3082987" y="2914819"/>
                  <a:pt x="3061221" y="2909796"/>
                  <a:pt x="3041799" y="2909796"/>
                </a:cubicBezTo>
                <a:close/>
                <a:moveTo>
                  <a:pt x="2658269" y="2909461"/>
                </a:moveTo>
                <a:cubicBezTo>
                  <a:pt x="2607147" y="2909461"/>
                  <a:pt x="2566293" y="2930892"/>
                  <a:pt x="2535709" y="2973755"/>
                </a:cubicBezTo>
                <a:cubicBezTo>
                  <a:pt x="2507580" y="3013045"/>
                  <a:pt x="2493516" y="3061712"/>
                  <a:pt x="2493516" y="3119755"/>
                </a:cubicBezTo>
                <a:cubicBezTo>
                  <a:pt x="2493516" y="3169985"/>
                  <a:pt x="2510594" y="3209052"/>
                  <a:pt x="2544750" y="3236957"/>
                </a:cubicBezTo>
                <a:cubicBezTo>
                  <a:pt x="2576004" y="3262184"/>
                  <a:pt x="2616858" y="3274797"/>
                  <a:pt x="2667310" y="3274797"/>
                </a:cubicBezTo>
                <a:cubicBezTo>
                  <a:pt x="2699680" y="3274797"/>
                  <a:pt x="2732943" y="3267207"/>
                  <a:pt x="2767100" y="3252026"/>
                </a:cubicBezTo>
                <a:cubicBezTo>
                  <a:pt x="2807060" y="3234167"/>
                  <a:pt x="2827040" y="3212847"/>
                  <a:pt x="2827040" y="3188067"/>
                </a:cubicBezTo>
                <a:cubicBezTo>
                  <a:pt x="2827040" y="3180254"/>
                  <a:pt x="2823970" y="3173389"/>
                  <a:pt x="2817831" y="3167473"/>
                </a:cubicBezTo>
                <a:cubicBezTo>
                  <a:pt x="2811692" y="3161557"/>
                  <a:pt x="2804716" y="3158599"/>
                  <a:pt x="2796902" y="3158599"/>
                </a:cubicBezTo>
                <a:cubicBezTo>
                  <a:pt x="2788196" y="3158599"/>
                  <a:pt x="2780048" y="3164571"/>
                  <a:pt x="2772457" y="3176514"/>
                </a:cubicBezTo>
                <a:cubicBezTo>
                  <a:pt x="2764867" y="3188458"/>
                  <a:pt x="2747901" y="3198113"/>
                  <a:pt x="2721558" y="3205480"/>
                </a:cubicBezTo>
                <a:cubicBezTo>
                  <a:pt x="2700797" y="3211284"/>
                  <a:pt x="2682714" y="3214187"/>
                  <a:pt x="2667310" y="3214187"/>
                </a:cubicBezTo>
                <a:cubicBezTo>
                  <a:pt x="2642530" y="3214187"/>
                  <a:pt x="2620820" y="3209498"/>
                  <a:pt x="2602179" y="3200122"/>
                </a:cubicBezTo>
                <a:cubicBezTo>
                  <a:pt x="2583539" y="3190746"/>
                  <a:pt x="2567968" y="3176794"/>
                  <a:pt x="2555466" y="3158264"/>
                </a:cubicBezTo>
                <a:lnTo>
                  <a:pt x="2683384" y="3097654"/>
                </a:lnTo>
                <a:cubicBezTo>
                  <a:pt x="2719549" y="3080688"/>
                  <a:pt x="2743213" y="3068186"/>
                  <a:pt x="2754375" y="3060149"/>
                </a:cubicBezTo>
                <a:cubicBezTo>
                  <a:pt x="2779601" y="3041844"/>
                  <a:pt x="2792214" y="3021529"/>
                  <a:pt x="2792214" y="2999204"/>
                </a:cubicBezTo>
                <a:cubicBezTo>
                  <a:pt x="2792214" y="2967281"/>
                  <a:pt x="2777815" y="2943617"/>
                  <a:pt x="2749017" y="2928213"/>
                </a:cubicBezTo>
                <a:cubicBezTo>
                  <a:pt x="2725576" y="2915712"/>
                  <a:pt x="2695327" y="2909461"/>
                  <a:pt x="2658269" y="2909461"/>
                </a:cubicBezTo>
                <a:close/>
                <a:moveTo>
                  <a:pt x="885391" y="2902429"/>
                </a:moveTo>
                <a:cubicBezTo>
                  <a:pt x="867309" y="2902429"/>
                  <a:pt x="856705" y="2912140"/>
                  <a:pt x="853579" y="2931562"/>
                </a:cubicBezTo>
                <a:cubicBezTo>
                  <a:pt x="846882" y="2970629"/>
                  <a:pt x="843534" y="3005455"/>
                  <a:pt x="843534" y="3036039"/>
                </a:cubicBezTo>
                <a:cubicBezTo>
                  <a:pt x="843534" y="3082250"/>
                  <a:pt x="847887" y="3134936"/>
                  <a:pt x="856593" y="3194095"/>
                </a:cubicBezTo>
                <a:cubicBezTo>
                  <a:pt x="860612" y="3221554"/>
                  <a:pt x="873225" y="3242427"/>
                  <a:pt x="894433" y="3256714"/>
                </a:cubicBezTo>
                <a:cubicBezTo>
                  <a:pt x="913632" y="3269662"/>
                  <a:pt x="937853" y="3276136"/>
                  <a:pt x="967098" y="3276136"/>
                </a:cubicBezTo>
                <a:cubicBezTo>
                  <a:pt x="1003486" y="3276136"/>
                  <a:pt x="1035633" y="3268881"/>
                  <a:pt x="1063539" y="3254370"/>
                </a:cubicBezTo>
                <a:cubicBezTo>
                  <a:pt x="1068227" y="3275578"/>
                  <a:pt x="1079165" y="3286182"/>
                  <a:pt x="1096355" y="3286182"/>
                </a:cubicBezTo>
                <a:cubicBezTo>
                  <a:pt x="1105731" y="3286182"/>
                  <a:pt x="1113656" y="3283113"/>
                  <a:pt x="1120130" y="3276973"/>
                </a:cubicBezTo>
                <a:cubicBezTo>
                  <a:pt x="1126605" y="3270834"/>
                  <a:pt x="1129841" y="3262965"/>
                  <a:pt x="1129841" y="3253366"/>
                </a:cubicBezTo>
                <a:cubicBezTo>
                  <a:pt x="1129841" y="3248454"/>
                  <a:pt x="1129451" y="3240976"/>
                  <a:pt x="1128670" y="3230930"/>
                </a:cubicBezTo>
                <a:cubicBezTo>
                  <a:pt x="1127888" y="3220884"/>
                  <a:pt x="1127498" y="3213405"/>
                  <a:pt x="1127498" y="3208494"/>
                </a:cubicBezTo>
                <a:cubicBezTo>
                  <a:pt x="1127498" y="3192420"/>
                  <a:pt x="1127386" y="3168310"/>
                  <a:pt x="1127163" y="3136163"/>
                </a:cubicBezTo>
                <a:cubicBezTo>
                  <a:pt x="1126939" y="3104017"/>
                  <a:pt x="1126828" y="3079906"/>
                  <a:pt x="1126828" y="3063833"/>
                </a:cubicBezTo>
                <a:lnTo>
                  <a:pt x="1132855" y="2937255"/>
                </a:lnTo>
                <a:cubicBezTo>
                  <a:pt x="1133302" y="2927878"/>
                  <a:pt x="1130288" y="2920065"/>
                  <a:pt x="1123814" y="2913814"/>
                </a:cubicBezTo>
                <a:cubicBezTo>
                  <a:pt x="1117340" y="2907563"/>
                  <a:pt x="1109303" y="2904438"/>
                  <a:pt x="1099704" y="2904438"/>
                </a:cubicBezTo>
                <a:cubicBezTo>
                  <a:pt x="1080505" y="2904438"/>
                  <a:pt x="1069678" y="2914707"/>
                  <a:pt x="1067222" y="2935245"/>
                </a:cubicBezTo>
                <a:cubicBezTo>
                  <a:pt x="1062980" y="2970741"/>
                  <a:pt x="1060860" y="3012599"/>
                  <a:pt x="1060860" y="3060819"/>
                </a:cubicBezTo>
                <a:lnTo>
                  <a:pt x="1061530" y="3125783"/>
                </a:lnTo>
                <a:lnTo>
                  <a:pt x="1061864" y="3193760"/>
                </a:lnTo>
                <a:cubicBezTo>
                  <a:pt x="1028601" y="3203359"/>
                  <a:pt x="997012" y="3208159"/>
                  <a:pt x="967098" y="3208159"/>
                </a:cubicBezTo>
                <a:cubicBezTo>
                  <a:pt x="960177" y="3208159"/>
                  <a:pt x="953145" y="3207099"/>
                  <a:pt x="946002" y="3204978"/>
                </a:cubicBezTo>
                <a:cubicBezTo>
                  <a:pt x="938858" y="3202857"/>
                  <a:pt x="931603" y="3199787"/>
                  <a:pt x="924235" y="3195769"/>
                </a:cubicBezTo>
                <a:cubicBezTo>
                  <a:pt x="919324" y="3179696"/>
                  <a:pt x="915641" y="3158376"/>
                  <a:pt x="913185" y="3131810"/>
                </a:cubicBezTo>
                <a:cubicBezTo>
                  <a:pt x="910729" y="3105244"/>
                  <a:pt x="909501" y="3073321"/>
                  <a:pt x="909501" y="3036039"/>
                </a:cubicBezTo>
                <a:cubicBezTo>
                  <a:pt x="909501" y="3024207"/>
                  <a:pt x="911120" y="3007018"/>
                  <a:pt x="914357" y="2984470"/>
                </a:cubicBezTo>
                <a:cubicBezTo>
                  <a:pt x="917594" y="2961923"/>
                  <a:pt x="919213" y="2945515"/>
                  <a:pt x="919213" y="2935245"/>
                </a:cubicBezTo>
                <a:cubicBezTo>
                  <a:pt x="919213" y="2925646"/>
                  <a:pt x="915976" y="2917777"/>
                  <a:pt x="909501" y="2911638"/>
                </a:cubicBezTo>
                <a:cubicBezTo>
                  <a:pt x="903027" y="2905498"/>
                  <a:pt x="894991" y="2902429"/>
                  <a:pt x="885391" y="2902429"/>
                </a:cubicBezTo>
                <a:close/>
                <a:moveTo>
                  <a:pt x="3965650" y="2893722"/>
                </a:moveTo>
                <a:cubicBezTo>
                  <a:pt x="3956273" y="2893722"/>
                  <a:pt x="3948404" y="2896792"/>
                  <a:pt x="3942042" y="2902931"/>
                </a:cubicBezTo>
                <a:cubicBezTo>
                  <a:pt x="3935679" y="2909070"/>
                  <a:pt x="3932498" y="2916940"/>
                  <a:pt x="3932498" y="2926539"/>
                </a:cubicBezTo>
                <a:cubicBezTo>
                  <a:pt x="3932498" y="2933683"/>
                  <a:pt x="3932889" y="2944287"/>
                  <a:pt x="3933670" y="2958351"/>
                </a:cubicBezTo>
                <a:cubicBezTo>
                  <a:pt x="3934452" y="2972415"/>
                  <a:pt x="3934842" y="2983019"/>
                  <a:pt x="3934842" y="2990163"/>
                </a:cubicBezTo>
                <a:cubicBezTo>
                  <a:pt x="3934842" y="3013157"/>
                  <a:pt x="3933224" y="3045025"/>
                  <a:pt x="3929987" y="3085767"/>
                </a:cubicBezTo>
                <a:cubicBezTo>
                  <a:pt x="3926750" y="3126508"/>
                  <a:pt x="3925131" y="3158376"/>
                  <a:pt x="3925131" y="3181370"/>
                </a:cubicBezTo>
                <a:cubicBezTo>
                  <a:pt x="3925131" y="3188067"/>
                  <a:pt x="3925857" y="3198113"/>
                  <a:pt x="3927308" y="3211508"/>
                </a:cubicBezTo>
                <a:cubicBezTo>
                  <a:pt x="3928759" y="3224902"/>
                  <a:pt x="3929484" y="3234948"/>
                  <a:pt x="3929484" y="3241645"/>
                </a:cubicBezTo>
                <a:cubicBezTo>
                  <a:pt x="3929484" y="3251691"/>
                  <a:pt x="3932498" y="3259840"/>
                  <a:pt x="3938526" y="3266090"/>
                </a:cubicBezTo>
                <a:cubicBezTo>
                  <a:pt x="3944553" y="3272341"/>
                  <a:pt x="3952478" y="3275467"/>
                  <a:pt x="3962301" y="3275467"/>
                </a:cubicBezTo>
                <a:cubicBezTo>
                  <a:pt x="3971900" y="3275467"/>
                  <a:pt x="3979770" y="3272341"/>
                  <a:pt x="3985909" y="3266090"/>
                </a:cubicBezTo>
                <a:cubicBezTo>
                  <a:pt x="3992048" y="3259840"/>
                  <a:pt x="3995118" y="3251691"/>
                  <a:pt x="3995118" y="3241645"/>
                </a:cubicBezTo>
                <a:cubicBezTo>
                  <a:pt x="3995118" y="3234948"/>
                  <a:pt x="3994448" y="3224902"/>
                  <a:pt x="3993108" y="3211508"/>
                </a:cubicBezTo>
                <a:cubicBezTo>
                  <a:pt x="3991769" y="3198113"/>
                  <a:pt x="3991099" y="3188067"/>
                  <a:pt x="3991099" y="3181370"/>
                </a:cubicBezTo>
                <a:cubicBezTo>
                  <a:pt x="3991099" y="3170878"/>
                  <a:pt x="3991769" y="3160050"/>
                  <a:pt x="3993108" y="3148888"/>
                </a:cubicBezTo>
                <a:cubicBezTo>
                  <a:pt x="3994671" y="3135717"/>
                  <a:pt x="3995676" y="3124778"/>
                  <a:pt x="3996122" y="3116072"/>
                </a:cubicBezTo>
                <a:cubicBezTo>
                  <a:pt x="4007731" y="3074772"/>
                  <a:pt x="4023804" y="3040616"/>
                  <a:pt x="4044343" y="3013603"/>
                </a:cubicBezTo>
                <a:cubicBezTo>
                  <a:pt x="4067113" y="2983912"/>
                  <a:pt x="4091000" y="2969067"/>
                  <a:pt x="4116003" y="2969067"/>
                </a:cubicBezTo>
                <a:cubicBezTo>
                  <a:pt x="4133863" y="2969067"/>
                  <a:pt x="4142792" y="2993177"/>
                  <a:pt x="4142792" y="3041397"/>
                </a:cubicBezTo>
                <a:cubicBezTo>
                  <a:pt x="4142792" y="3047648"/>
                  <a:pt x="4142402" y="3058252"/>
                  <a:pt x="4141620" y="3073209"/>
                </a:cubicBezTo>
                <a:cubicBezTo>
                  <a:pt x="4140839" y="3088166"/>
                  <a:pt x="4140448" y="3098770"/>
                  <a:pt x="4140448" y="3105021"/>
                </a:cubicBezTo>
                <a:cubicBezTo>
                  <a:pt x="4140448" y="3127792"/>
                  <a:pt x="4142011" y="3152237"/>
                  <a:pt x="4145136" y="3178356"/>
                </a:cubicBezTo>
                <a:lnTo>
                  <a:pt x="4154513" y="3251691"/>
                </a:lnTo>
                <a:cubicBezTo>
                  <a:pt x="4156968" y="3272676"/>
                  <a:pt x="4167795" y="3283168"/>
                  <a:pt x="4186994" y="3283168"/>
                </a:cubicBezTo>
                <a:cubicBezTo>
                  <a:pt x="4196594" y="3283168"/>
                  <a:pt x="4204575" y="3280099"/>
                  <a:pt x="4210937" y="3273960"/>
                </a:cubicBezTo>
                <a:cubicBezTo>
                  <a:pt x="4217299" y="3267821"/>
                  <a:pt x="4220481" y="3259840"/>
                  <a:pt x="4220481" y="3250017"/>
                </a:cubicBezTo>
                <a:cubicBezTo>
                  <a:pt x="4220481" y="3231711"/>
                  <a:pt x="4218081" y="3207880"/>
                  <a:pt x="4213281" y="3178524"/>
                </a:cubicBezTo>
                <a:cubicBezTo>
                  <a:pt x="4208481" y="3149167"/>
                  <a:pt x="4206081" y="3125225"/>
                  <a:pt x="4206081" y="3106695"/>
                </a:cubicBezTo>
                <a:lnTo>
                  <a:pt x="4206416" y="3075553"/>
                </a:lnTo>
                <a:lnTo>
                  <a:pt x="4206416" y="3041732"/>
                </a:lnTo>
                <a:cubicBezTo>
                  <a:pt x="4205523" y="3000655"/>
                  <a:pt x="4200277" y="2969625"/>
                  <a:pt x="4190678" y="2948640"/>
                </a:cubicBezTo>
                <a:cubicBezTo>
                  <a:pt x="4176613" y="2917163"/>
                  <a:pt x="4151722" y="2901424"/>
                  <a:pt x="4116003" y="2901424"/>
                </a:cubicBezTo>
                <a:cubicBezTo>
                  <a:pt x="4076489" y="2901424"/>
                  <a:pt x="4037980" y="2926427"/>
                  <a:pt x="4000475" y="2976434"/>
                </a:cubicBezTo>
                <a:lnTo>
                  <a:pt x="3999471" y="2937255"/>
                </a:lnTo>
                <a:cubicBezTo>
                  <a:pt x="3997462" y="2908233"/>
                  <a:pt x="3986188" y="2893722"/>
                  <a:pt x="3965650" y="2893722"/>
                </a:cubicBezTo>
                <a:close/>
                <a:moveTo>
                  <a:pt x="3452490" y="2876979"/>
                </a:moveTo>
                <a:cubicBezTo>
                  <a:pt x="3441775" y="2876979"/>
                  <a:pt x="3431840" y="2878988"/>
                  <a:pt x="3422687" y="2883007"/>
                </a:cubicBezTo>
                <a:cubicBezTo>
                  <a:pt x="3409963" y="2888811"/>
                  <a:pt x="3388866" y="2895899"/>
                  <a:pt x="3359398" y="2904271"/>
                </a:cubicBezTo>
                <a:cubicBezTo>
                  <a:pt x="3329930" y="2912642"/>
                  <a:pt x="3308499" y="2919842"/>
                  <a:pt x="3295105" y="2925869"/>
                </a:cubicBezTo>
                <a:cubicBezTo>
                  <a:pt x="3251126" y="2945738"/>
                  <a:pt x="3229136" y="2979001"/>
                  <a:pt x="3229136" y="3025659"/>
                </a:cubicBezTo>
                <a:cubicBezTo>
                  <a:pt x="3229136" y="3050885"/>
                  <a:pt x="3238178" y="3069749"/>
                  <a:pt x="3256260" y="3082250"/>
                </a:cubicBezTo>
                <a:cubicBezTo>
                  <a:pt x="3268762" y="3090957"/>
                  <a:pt x="3289858" y="3098547"/>
                  <a:pt x="3319550" y="3105021"/>
                </a:cubicBezTo>
                <a:lnTo>
                  <a:pt x="3354375" y="3112723"/>
                </a:lnTo>
                <a:cubicBezTo>
                  <a:pt x="3396791" y="3123439"/>
                  <a:pt x="3417999" y="3143977"/>
                  <a:pt x="3417999" y="3174338"/>
                </a:cubicBezTo>
                <a:cubicBezTo>
                  <a:pt x="3417999" y="3188402"/>
                  <a:pt x="3407619" y="3198671"/>
                  <a:pt x="3386857" y="3205145"/>
                </a:cubicBezTo>
                <a:cubicBezTo>
                  <a:pt x="3372570" y="3209610"/>
                  <a:pt x="3356050" y="3211843"/>
                  <a:pt x="3337297" y="3211843"/>
                </a:cubicBezTo>
                <a:cubicBezTo>
                  <a:pt x="3327028" y="3211843"/>
                  <a:pt x="3314415" y="3210503"/>
                  <a:pt x="3299458" y="3207824"/>
                </a:cubicBezTo>
                <a:cubicBezTo>
                  <a:pt x="3280705" y="3204476"/>
                  <a:pt x="3268650" y="3200234"/>
                  <a:pt x="3263293" y="3195099"/>
                </a:cubicBezTo>
                <a:cubicBezTo>
                  <a:pt x="3252354" y="3184384"/>
                  <a:pt x="3243424" y="3179026"/>
                  <a:pt x="3236503" y="3179026"/>
                </a:cubicBezTo>
                <a:cubicBezTo>
                  <a:pt x="3227574" y="3179026"/>
                  <a:pt x="3219593" y="3182375"/>
                  <a:pt x="3212561" y="3189072"/>
                </a:cubicBezTo>
                <a:cubicBezTo>
                  <a:pt x="3205529" y="3195769"/>
                  <a:pt x="3202013" y="3203583"/>
                  <a:pt x="3202013" y="3212512"/>
                </a:cubicBezTo>
                <a:cubicBezTo>
                  <a:pt x="3202013" y="3234836"/>
                  <a:pt x="3219202" y="3252249"/>
                  <a:pt x="3253581" y="3264751"/>
                </a:cubicBezTo>
                <a:cubicBezTo>
                  <a:pt x="3280147" y="3274574"/>
                  <a:pt x="3308053" y="3279485"/>
                  <a:pt x="3337297" y="3279485"/>
                </a:cubicBezTo>
                <a:cubicBezTo>
                  <a:pt x="3377258" y="3279485"/>
                  <a:pt x="3410297" y="3271895"/>
                  <a:pt x="3436417" y="3256714"/>
                </a:cubicBezTo>
                <a:cubicBezTo>
                  <a:pt x="3467894" y="3238185"/>
                  <a:pt x="3483633" y="3210726"/>
                  <a:pt x="3483633" y="3174338"/>
                </a:cubicBezTo>
                <a:cubicBezTo>
                  <a:pt x="3483633" y="3129913"/>
                  <a:pt x="3465439" y="3095980"/>
                  <a:pt x="3429050" y="3072539"/>
                </a:cubicBezTo>
                <a:cubicBezTo>
                  <a:pt x="3404047" y="3056466"/>
                  <a:pt x="3365872" y="3043853"/>
                  <a:pt x="3314527" y="3034700"/>
                </a:cubicBezTo>
                <a:cubicBezTo>
                  <a:pt x="3308053" y="3033584"/>
                  <a:pt x="3301467" y="3031798"/>
                  <a:pt x="3294770" y="3029342"/>
                </a:cubicBezTo>
                <a:cubicBezTo>
                  <a:pt x="3294993" y="3008357"/>
                  <a:pt x="3313076" y="2990721"/>
                  <a:pt x="3349018" y="2976434"/>
                </a:cubicBezTo>
                <a:cubicBezTo>
                  <a:pt x="3383843" y="2965048"/>
                  <a:pt x="3409628" y="2957235"/>
                  <a:pt x="3426371" y="2952993"/>
                </a:cubicBezTo>
                <a:cubicBezTo>
                  <a:pt x="3428827" y="2971299"/>
                  <a:pt x="3431729" y="2983354"/>
                  <a:pt x="3435077" y="2989158"/>
                </a:cubicBezTo>
                <a:cubicBezTo>
                  <a:pt x="3439989" y="2997418"/>
                  <a:pt x="3448584" y="3001548"/>
                  <a:pt x="3460862" y="3001548"/>
                </a:cubicBezTo>
                <a:cubicBezTo>
                  <a:pt x="3470461" y="3001548"/>
                  <a:pt x="3478331" y="2998423"/>
                  <a:pt x="3484470" y="2992172"/>
                </a:cubicBezTo>
                <a:cubicBezTo>
                  <a:pt x="3490609" y="2985921"/>
                  <a:pt x="3493678" y="2977773"/>
                  <a:pt x="3493678" y="2967727"/>
                </a:cubicBezTo>
                <a:cubicBezTo>
                  <a:pt x="3493678" y="2961253"/>
                  <a:pt x="3492283" y="2951765"/>
                  <a:pt x="3489493" y="2939264"/>
                </a:cubicBezTo>
                <a:cubicBezTo>
                  <a:pt x="3486702" y="2926762"/>
                  <a:pt x="3485307" y="2917274"/>
                  <a:pt x="3485307" y="2910800"/>
                </a:cubicBezTo>
                <a:cubicBezTo>
                  <a:pt x="3485307" y="2900755"/>
                  <a:pt x="3482237" y="2892606"/>
                  <a:pt x="3476098" y="2886355"/>
                </a:cubicBezTo>
                <a:cubicBezTo>
                  <a:pt x="3469959" y="2880105"/>
                  <a:pt x="3462090" y="2876979"/>
                  <a:pt x="3452490" y="2876979"/>
                </a:cubicBezTo>
                <a:close/>
                <a:moveTo>
                  <a:pt x="2395215" y="2876979"/>
                </a:moveTo>
                <a:cubicBezTo>
                  <a:pt x="2384500" y="2876979"/>
                  <a:pt x="2374565" y="2878988"/>
                  <a:pt x="2365413" y="2883007"/>
                </a:cubicBezTo>
                <a:cubicBezTo>
                  <a:pt x="2352688" y="2888811"/>
                  <a:pt x="2331591" y="2895899"/>
                  <a:pt x="2302123" y="2904271"/>
                </a:cubicBezTo>
                <a:cubicBezTo>
                  <a:pt x="2272655" y="2912642"/>
                  <a:pt x="2251224" y="2919842"/>
                  <a:pt x="2237830" y="2925869"/>
                </a:cubicBezTo>
                <a:cubicBezTo>
                  <a:pt x="2193851" y="2945738"/>
                  <a:pt x="2171862" y="2979001"/>
                  <a:pt x="2171862" y="3025659"/>
                </a:cubicBezTo>
                <a:cubicBezTo>
                  <a:pt x="2171862" y="3050885"/>
                  <a:pt x="2180903" y="3069749"/>
                  <a:pt x="2198986" y="3082250"/>
                </a:cubicBezTo>
                <a:cubicBezTo>
                  <a:pt x="2211487" y="3090957"/>
                  <a:pt x="2232583" y="3098547"/>
                  <a:pt x="2262275" y="3105021"/>
                </a:cubicBezTo>
                <a:lnTo>
                  <a:pt x="2297100" y="3112723"/>
                </a:lnTo>
                <a:cubicBezTo>
                  <a:pt x="2339516" y="3123439"/>
                  <a:pt x="2360724" y="3143977"/>
                  <a:pt x="2360724" y="3174338"/>
                </a:cubicBezTo>
                <a:cubicBezTo>
                  <a:pt x="2360724" y="3188402"/>
                  <a:pt x="2350344" y="3198671"/>
                  <a:pt x="2329582" y="3205145"/>
                </a:cubicBezTo>
                <a:cubicBezTo>
                  <a:pt x="2315295" y="3209610"/>
                  <a:pt x="2298775" y="3211843"/>
                  <a:pt x="2280022" y="3211843"/>
                </a:cubicBezTo>
                <a:cubicBezTo>
                  <a:pt x="2269753" y="3211843"/>
                  <a:pt x="2257140" y="3210503"/>
                  <a:pt x="2242183" y="3207824"/>
                </a:cubicBezTo>
                <a:cubicBezTo>
                  <a:pt x="2223431" y="3204476"/>
                  <a:pt x="2211376" y="3200234"/>
                  <a:pt x="2206018" y="3195099"/>
                </a:cubicBezTo>
                <a:cubicBezTo>
                  <a:pt x="2195079" y="3184384"/>
                  <a:pt x="2186149" y="3179026"/>
                  <a:pt x="2179228" y="3179026"/>
                </a:cubicBezTo>
                <a:cubicBezTo>
                  <a:pt x="2170299" y="3179026"/>
                  <a:pt x="2162318" y="3182375"/>
                  <a:pt x="2155286" y="3189072"/>
                </a:cubicBezTo>
                <a:cubicBezTo>
                  <a:pt x="2148254" y="3195769"/>
                  <a:pt x="2144738" y="3203583"/>
                  <a:pt x="2144738" y="3212512"/>
                </a:cubicBezTo>
                <a:cubicBezTo>
                  <a:pt x="2144738" y="3234836"/>
                  <a:pt x="2161927" y="3252249"/>
                  <a:pt x="2196307" y="3264751"/>
                </a:cubicBezTo>
                <a:cubicBezTo>
                  <a:pt x="2222872" y="3274574"/>
                  <a:pt x="2250778" y="3279485"/>
                  <a:pt x="2280022" y="3279485"/>
                </a:cubicBezTo>
                <a:cubicBezTo>
                  <a:pt x="2319983" y="3279485"/>
                  <a:pt x="2353023" y="3271895"/>
                  <a:pt x="2379142" y="3256714"/>
                </a:cubicBezTo>
                <a:cubicBezTo>
                  <a:pt x="2410619" y="3238185"/>
                  <a:pt x="2426358" y="3210726"/>
                  <a:pt x="2426358" y="3174338"/>
                </a:cubicBezTo>
                <a:cubicBezTo>
                  <a:pt x="2426358" y="3129913"/>
                  <a:pt x="2408163" y="3095980"/>
                  <a:pt x="2371775" y="3072539"/>
                </a:cubicBezTo>
                <a:cubicBezTo>
                  <a:pt x="2346772" y="3056466"/>
                  <a:pt x="2308597" y="3043853"/>
                  <a:pt x="2257252" y="3034700"/>
                </a:cubicBezTo>
                <a:cubicBezTo>
                  <a:pt x="2250778" y="3033584"/>
                  <a:pt x="2244192" y="3031798"/>
                  <a:pt x="2237495" y="3029342"/>
                </a:cubicBezTo>
                <a:cubicBezTo>
                  <a:pt x="2237718" y="3008357"/>
                  <a:pt x="2255801" y="2990721"/>
                  <a:pt x="2291743" y="2976434"/>
                </a:cubicBezTo>
                <a:cubicBezTo>
                  <a:pt x="2326568" y="2965048"/>
                  <a:pt x="2352353" y="2957235"/>
                  <a:pt x="2369096" y="2952993"/>
                </a:cubicBezTo>
                <a:cubicBezTo>
                  <a:pt x="2371552" y="2971299"/>
                  <a:pt x="2374454" y="2983354"/>
                  <a:pt x="2377802" y="2989158"/>
                </a:cubicBezTo>
                <a:cubicBezTo>
                  <a:pt x="2382714" y="2997418"/>
                  <a:pt x="2391309" y="3001548"/>
                  <a:pt x="2403587" y="3001548"/>
                </a:cubicBezTo>
                <a:cubicBezTo>
                  <a:pt x="2413186" y="3001548"/>
                  <a:pt x="2421056" y="2998423"/>
                  <a:pt x="2427195" y="2992172"/>
                </a:cubicBezTo>
                <a:cubicBezTo>
                  <a:pt x="2433334" y="2985921"/>
                  <a:pt x="2436403" y="2977773"/>
                  <a:pt x="2436403" y="2967727"/>
                </a:cubicBezTo>
                <a:cubicBezTo>
                  <a:pt x="2436403" y="2961253"/>
                  <a:pt x="2435008" y="2951765"/>
                  <a:pt x="2432218" y="2939264"/>
                </a:cubicBezTo>
                <a:cubicBezTo>
                  <a:pt x="2429427" y="2926762"/>
                  <a:pt x="2428032" y="2917274"/>
                  <a:pt x="2428032" y="2910800"/>
                </a:cubicBezTo>
                <a:cubicBezTo>
                  <a:pt x="2428032" y="2900755"/>
                  <a:pt x="2424962" y="2892606"/>
                  <a:pt x="2418823" y="2886355"/>
                </a:cubicBezTo>
                <a:cubicBezTo>
                  <a:pt x="2412684" y="2880105"/>
                  <a:pt x="2404815" y="2876979"/>
                  <a:pt x="2395215" y="2876979"/>
                </a:cubicBezTo>
                <a:close/>
                <a:moveTo>
                  <a:pt x="275940" y="2791589"/>
                </a:moveTo>
                <a:cubicBezTo>
                  <a:pt x="266564" y="2791589"/>
                  <a:pt x="258639" y="2794659"/>
                  <a:pt x="252165" y="2800798"/>
                </a:cubicBezTo>
                <a:cubicBezTo>
                  <a:pt x="245691" y="2806937"/>
                  <a:pt x="242454" y="2814695"/>
                  <a:pt x="242454" y="2824071"/>
                </a:cubicBezTo>
                <a:cubicBezTo>
                  <a:pt x="242454" y="2832554"/>
                  <a:pt x="242956" y="2846339"/>
                  <a:pt x="243961" y="2865426"/>
                </a:cubicBezTo>
                <a:cubicBezTo>
                  <a:pt x="244965" y="2884514"/>
                  <a:pt x="245468" y="2899750"/>
                  <a:pt x="245468" y="2911135"/>
                </a:cubicBezTo>
                <a:lnTo>
                  <a:pt x="175146" y="2905443"/>
                </a:lnTo>
                <a:cubicBezTo>
                  <a:pt x="165770" y="2905443"/>
                  <a:pt x="158068" y="2908680"/>
                  <a:pt x="152041" y="2915154"/>
                </a:cubicBezTo>
                <a:cubicBezTo>
                  <a:pt x="146013" y="2921628"/>
                  <a:pt x="142999" y="2929776"/>
                  <a:pt x="142999" y="2939599"/>
                </a:cubicBezTo>
                <a:cubicBezTo>
                  <a:pt x="142999" y="2959021"/>
                  <a:pt x="152934" y="2970071"/>
                  <a:pt x="172802" y="2972750"/>
                </a:cubicBezTo>
                <a:cubicBezTo>
                  <a:pt x="206065" y="2975876"/>
                  <a:pt x="230845" y="2977773"/>
                  <a:pt x="247142" y="2978443"/>
                </a:cubicBezTo>
                <a:lnTo>
                  <a:pt x="253839" y="3174003"/>
                </a:lnTo>
                <a:cubicBezTo>
                  <a:pt x="253839" y="3182486"/>
                  <a:pt x="253504" y="3195211"/>
                  <a:pt x="252835" y="3212177"/>
                </a:cubicBezTo>
                <a:cubicBezTo>
                  <a:pt x="252165" y="3229144"/>
                  <a:pt x="251830" y="3241869"/>
                  <a:pt x="251830" y="3250352"/>
                </a:cubicBezTo>
                <a:cubicBezTo>
                  <a:pt x="251830" y="3259058"/>
                  <a:pt x="255123" y="3266314"/>
                  <a:pt x="261708" y="3272118"/>
                </a:cubicBezTo>
                <a:cubicBezTo>
                  <a:pt x="268294" y="3277922"/>
                  <a:pt x="276052" y="3280824"/>
                  <a:pt x="284981" y="3280824"/>
                </a:cubicBezTo>
                <a:cubicBezTo>
                  <a:pt x="309315" y="3280824"/>
                  <a:pt x="321035" y="3256379"/>
                  <a:pt x="320142" y="3207489"/>
                </a:cubicBezTo>
                <a:lnTo>
                  <a:pt x="319807" y="3190411"/>
                </a:lnTo>
                <a:lnTo>
                  <a:pt x="319472" y="3175677"/>
                </a:lnTo>
                <a:lnTo>
                  <a:pt x="313110" y="2977773"/>
                </a:lnTo>
                <a:cubicBezTo>
                  <a:pt x="338336" y="2974424"/>
                  <a:pt x="353517" y="2972750"/>
                  <a:pt x="358651" y="2972750"/>
                </a:cubicBezTo>
                <a:cubicBezTo>
                  <a:pt x="363339" y="2972750"/>
                  <a:pt x="368865" y="2972973"/>
                  <a:pt x="375227" y="2973420"/>
                </a:cubicBezTo>
                <a:cubicBezTo>
                  <a:pt x="381590" y="2973866"/>
                  <a:pt x="387115" y="2974090"/>
                  <a:pt x="391803" y="2974090"/>
                </a:cubicBezTo>
                <a:cubicBezTo>
                  <a:pt x="401402" y="2974090"/>
                  <a:pt x="409272" y="2970908"/>
                  <a:pt x="415411" y="2964546"/>
                </a:cubicBezTo>
                <a:cubicBezTo>
                  <a:pt x="421550" y="2958184"/>
                  <a:pt x="424619" y="2950091"/>
                  <a:pt x="424619" y="2940268"/>
                </a:cubicBezTo>
                <a:cubicBezTo>
                  <a:pt x="424619" y="2923748"/>
                  <a:pt x="417810" y="2913256"/>
                  <a:pt x="404193" y="2908791"/>
                </a:cubicBezTo>
                <a:cubicBezTo>
                  <a:pt x="397049" y="2906559"/>
                  <a:pt x="381869" y="2905443"/>
                  <a:pt x="358651" y="2905443"/>
                </a:cubicBezTo>
                <a:cubicBezTo>
                  <a:pt x="354633" y="2905443"/>
                  <a:pt x="338783" y="2907229"/>
                  <a:pt x="311101" y="2910800"/>
                </a:cubicBezTo>
                <a:lnTo>
                  <a:pt x="311436" y="2890039"/>
                </a:lnTo>
                <a:lnTo>
                  <a:pt x="312105" y="2870617"/>
                </a:lnTo>
                <a:cubicBezTo>
                  <a:pt x="312105" y="2859008"/>
                  <a:pt x="311770" y="2849074"/>
                  <a:pt x="311101" y="2840814"/>
                </a:cubicBezTo>
                <a:cubicBezTo>
                  <a:pt x="307752" y="2807997"/>
                  <a:pt x="296032" y="2791589"/>
                  <a:pt x="275940" y="2791589"/>
                </a:cubicBezTo>
                <a:close/>
                <a:moveTo>
                  <a:pt x="1608138" y="2722942"/>
                </a:moveTo>
                <a:cubicBezTo>
                  <a:pt x="1598762" y="2722942"/>
                  <a:pt x="1590837" y="2726012"/>
                  <a:pt x="1584363" y="2732151"/>
                </a:cubicBezTo>
                <a:cubicBezTo>
                  <a:pt x="1577889" y="2738290"/>
                  <a:pt x="1574652" y="2746048"/>
                  <a:pt x="1574652" y="2755424"/>
                </a:cubicBezTo>
                <a:cubicBezTo>
                  <a:pt x="1574652" y="2766363"/>
                  <a:pt x="1575712" y="2776911"/>
                  <a:pt x="1577833" y="2787068"/>
                </a:cubicBezTo>
                <a:cubicBezTo>
                  <a:pt x="1579954" y="2797226"/>
                  <a:pt x="1581014" y="2807997"/>
                  <a:pt x="1581014" y="2819383"/>
                </a:cubicBezTo>
                <a:cubicBezTo>
                  <a:pt x="1581014" y="2828982"/>
                  <a:pt x="1580233" y="2847623"/>
                  <a:pt x="1578670" y="2875305"/>
                </a:cubicBezTo>
                <a:lnTo>
                  <a:pt x="1577665" y="3121429"/>
                </a:lnTo>
                <a:lnTo>
                  <a:pt x="1576661" y="3170989"/>
                </a:lnTo>
                <a:cubicBezTo>
                  <a:pt x="1575991" y="3198002"/>
                  <a:pt x="1574763" y="3214298"/>
                  <a:pt x="1572977" y="3219879"/>
                </a:cubicBezTo>
                <a:cubicBezTo>
                  <a:pt x="1570968" y="3226577"/>
                  <a:pt x="1569963" y="3231488"/>
                  <a:pt x="1569963" y="3234613"/>
                </a:cubicBezTo>
                <a:cubicBezTo>
                  <a:pt x="1569963" y="3243543"/>
                  <a:pt x="1573424" y="3251133"/>
                  <a:pt x="1580344" y="3257384"/>
                </a:cubicBezTo>
                <a:cubicBezTo>
                  <a:pt x="1587265" y="3263635"/>
                  <a:pt x="1595302" y="3266760"/>
                  <a:pt x="1604454" y="3266760"/>
                </a:cubicBezTo>
                <a:cubicBezTo>
                  <a:pt x="1617626" y="3266760"/>
                  <a:pt x="1627337" y="3259840"/>
                  <a:pt x="1633587" y="3245999"/>
                </a:cubicBezTo>
                <a:cubicBezTo>
                  <a:pt x="1640731" y="3230372"/>
                  <a:pt x="1644303" y="3180031"/>
                  <a:pt x="1644303" y="3094975"/>
                </a:cubicBezTo>
                <a:cubicBezTo>
                  <a:pt x="1664172" y="3057917"/>
                  <a:pt x="1679799" y="3032802"/>
                  <a:pt x="1691184" y="3019631"/>
                </a:cubicBezTo>
                <a:cubicBezTo>
                  <a:pt x="1713508" y="2993958"/>
                  <a:pt x="1738846" y="2981122"/>
                  <a:pt x="1767198" y="2981122"/>
                </a:cubicBezTo>
                <a:cubicBezTo>
                  <a:pt x="1788183" y="2981122"/>
                  <a:pt x="1798675" y="3002107"/>
                  <a:pt x="1798675" y="3044076"/>
                </a:cubicBezTo>
                <a:cubicBezTo>
                  <a:pt x="1798675" y="3049880"/>
                  <a:pt x="1798396" y="3058698"/>
                  <a:pt x="1797838" y="3070530"/>
                </a:cubicBezTo>
                <a:cubicBezTo>
                  <a:pt x="1797280" y="3082362"/>
                  <a:pt x="1797001" y="3091180"/>
                  <a:pt x="1797001" y="3096984"/>
                </a:cubicBezTo>
                <a:cubicBezTo>
                  <a:pt x="1797001" y="3117746"/>
                  <a:pt x="1799010" y="3144312"/>
                  <a:pt x="1803028" y="3176682"/>
                </a:cubicBezTo>
                <a:cubicBezTo>
                  <a:pt x="1807270" y="3210391"/>
                  <a:pt x="1811958" y="3236399"/>
                  <a:pt x="1817093" y="3254705"/>
                </a:cubicBezTo>
                <a:cubicBezTo>
                  <a:pt x="1822004" y="3271671"/>
                  <a:pt x="1832385" y="3280155"/>
                  <a:pt x="1848235" y="3280155"/>
                </a:cubicBezTo>
                <a:cubicBezTo>
                  <a:pt x="1857611" y="3280155"/>
                  <a:pt x="1865648" y="3277085"/>
                  <a:pt x="1872345" y="3270946"/>
                </a:cubicBezTo>
                <a:cubicBezTo>
                  <a:pt x="1879042" y="3264807"/>
                  <a:pt x="1882391" y="3257161"/>
                  <a:pt x="1882391" y="3248008"/>
                </a:cubicBezTo>
                <a:cubicBezTo>
                  <a:pt x="1882391" y="3245329"/>
                  <a:pt x="1881944" y="3242092"/>
                  <a:pt x="1881051" y="3238297"/>
                </a:cubicBezTo>
                <a:cubicBezTo>
                  <a:pt x="1876587" y="3218428"/>
                  <a:pt x="1872791" y="3195434"/>
                  <a:pt x="1869666" y="3169315"/>
                </a:cubicBezTo>
                <a:lnTo>
                  <a:pt x="1862969" y="3099663"/>
                </a:lnTo>
                <a:lnTo>
                  <a:pt x="1860290" y="3035704"/>
                </a:lnTo>
                <a:cubicBezTo>
                  <a:pt x="1858951" y="2995521"/>
                  <a:pt x="1853369" y="2966946"/>
                  <a:pt x="1843547" y="2949979"/>
                </a:cubicBezTo>
                <a:cubicBezTo>
                  <a:pt x="1829706" y="2925869"/>
                  <a:pt x="1804256" y="2913814"/>
                  <a:pt x="1767198" y="2913814"/>
                </a:cubicBezTo>
                <a:cubicBezTo>
                  <a:pt x="1743758" y="2913814"/>
                  <a:pt x="1721601" y="2919898"/>
                  <a:pt x="1700728" y="2932064"/>
                </a:cubicBezTo>
                <a:cubicBezTo>
                  <a:pt x="1679854" y="2944231"/>
                  <a:pt x="1660265" y="2962593"/>
                  <a:pt x="1641959" y="2987149"/>
                </a:cubicBezTo>
                <a:lnTo>
                  <a:pt x="1641624" y="2957681"/>
                </a:lnTo>
                <a:cubicBezTo>
                  <a:pt x="1641401" y="2933125"/>
                  <a:pt x="1641959" y="2908680"/>
                  <a:pt x="1643298" y="2884346"/>
                </a:cubicBezTo>
                <a:cubicBezTo>
                  <a:pt x="1644861" y="2858897"/>
                  <a:pt x="1645643" y="2834452"/>
                  <a:pt x="1645643" y="2811011"/>
                </a:cubicBezTo>
                <a:cubicBezTo>
                  <a:pt x="1645643" y="2793598"/>
                  <a:pt x="1643857" y="2774065"/>
                  <a:pt x="1640285" y="2752410"/>
                </a:cubicBezTo>
                <a:cubicBezTo>
                  <a:pt x="1637159" y="2732765"/>
                  <a:pt x="1626444" y="2722942"/>
                  <a:pt x="1608138" y="2722942"/>
                </a:cubicBezTo>
                <a:close/>
                <a:moveTo>
                  <a:pt x="4650445" y="2721938"/>
                </a:moveTo>
                <a:cubicBezTo>
                  <a:pt x="4630577" y="2721938"/>
                  <a:pt x="4620642" y="2731872"/>
                  <a:pt x="4620642" y="2751740"/>
                </a:cubicBezTo>
                <a:cubicBezTo>
                  <a:pt x="4620642" y="2784111"/>
                  <a:pt x="4620363" y="2832610"/>
                  <a:pt x="4619805" y="2897238"/>
                </a:cubicBezTo>
                <a:cubicBezTo>
                  <a:pt x="4619247" y="2961867"/>
                  <a:pt x="4618968" y="3010366"/>
                  <a:pt x="4618968" y="3042737"/>
                </a:cubicBezTo>
                <a:cubicBezTo>
                  <a:pt x="4618968" y="3051666"/>
                  <a:pt x="4619247" y="3065228"/>
                  <a:pt x="4619805" y="3083422"/>
                </a:cubicBezTo>
                <a:cubicBezTo>
                  <a:pt x="4620363" y="3101617"/>
                  <a:pt x="4620642" y="3115290"/>
                  <a:pt x="4620642" y="3124443"/>
                </a:cubicBezTo>
                <a:cubicBezTo>
                  <a:pt x="4620642" y="3144312"/>
                  <a:pt x="4630577" y="3154246"/>
                  <a:pt x="4650445" y="3154246"/>
                </a:cubicBezTo>
                <a:cubicBezTo>
                  <a:pt x="4670314" y="3154246"/>
                  <a:pt x="4680248" y="3144312"/>
                  <a:pt x="4680248" y="3124443"/>
                </a:cubicBezTo>
                <a:lnTo>
                  <a:pt x="4680248" y="2751740"/>
                </a:lnTo>
                <a:cubicBezTo>
                  <a:pt x="4680248" y="2731872"/>
                  <a:pt x="4670314" y="2721938"/>
                  <a:pt x="4650445" y="2721938"/>
                </a:cubicBezTo>
                <a:close/>
                <a:moveTo>
                  <a:pt x="4488520" y="2721938"/>
                </a:moveTo>
                <a:cubicBezTo>
                  <a:pt x="4468652" y="2721938"/>
                  <a:pt x="4458717" y="2731872"/>
                  <a:pt x="4458717" y="2751740"/>
                </a:cubicBezTo>
                <a:cubicBezTo>
                  <a:pt x="4458717" y="2784111"/>
                  <a:pt x="4458438" y="2832610"/>
                  <a:pt x="4457880" y="2897238"/>
                </a:cubicBezTo>
                <a:cubicBezTo>
                  <a:pt x="4457322" y="2961867"/>
                  <a:pt x="4457043" y="3010366"/>
                  <a:pt x="4457043" y="3042737"/>
                </a:cubicBezTo>
                <a:cubicBezTo>
                  <a:pt x="4457043" y="3051666"/>
                  <a:pt x="4457322" y="3065228"/>
                  <a:pt x="4457880" y="3083422"/>
                </a:cubicBezTo>
                <a:cubicBezTo>
                  <a:pt x="4458438" y="3101617"/>
                  <a:pt x="4458717" y="3115290"/>
                  <a:pt x="4458717" y="3124443"/>
                </a:cubicBezTo>
                <a:cubicBezTo>
                  <a:pt x="4458717" y="3144312"/>
                  <a:pt x="4468652" y="3154246"/>
                  <a:pt x="4488520" y="3154246"/>
                </a:cubicBezTo>
                <a:cubicBezTo>
                  <a:pt x="4508389" y="3154246"/>
                  <a:pt x="4518323" y="3144312"/>
                  <a:pt x="4518323" y="3124443"/>
                </a:cubicBezTo>
                <a:lnTo>
                  <a:pt x="4518323" y="2751740"/>
                </a:lnTo>
                <a:cubicBezTo>
                  <a:pt x="4518323" y="2731872"/>
                  <a:pt x="4508389" y="2721938"/>
                  <a:pt x="4488520" y="2721938"/>
                </a:cubicBezTo>
                <a:close/>
                <a:moveTo>
                  <a:pt x="4326595" y="2721938"/>
                </a:moveTo>
                <a:cubicBezTo>
                  <a:pt x="4306726" y="2721938"/>
                  <a:pt x="4296792" y="2731872"/>
                  <a:pt x="4296792" y="2751740"/>
                </a:cubicBezTo>
                <a:cubicBezTo>
                  <a:pt x="4296792" y="2784111"/>
                  <a:pt x="4296513" y="2832610"/>
                  <a:pt x="4295955" y="2897238"/>
                </a:cubicBezTo>
                <a:cubicBezTo>
                  <a:pt x="4295397" y="2961867"/>
                  <a:pt x="4295118" y="3010366"/>
                  <a:pt x="4295118" y="3042737"/>
                </a:cubicBezTo>
                <a:cubicBezTo>
                  <a:pt x="4295118" y="3051666"/>
                  <a:pt x="4295397" y="3065228"/>
                  <a:pt x="4295955" y="3083422"/>
                </a:cubicBezTo>
                <a:cubicBezTo>
                  <a:pt x="4296513" y="3101617"/>
                  <a:pt x="4296792" y="3115290"/>
                  <a:pt x="4296792" y="3124443"/>
                </a:cubicBezTo>
                <a:cubicBezTo>
                  <a:pt x="4296792" y="3144312"/>
                  <a:pt x="4306726" y="3154246"/>
                  <a:pt x="4326595" y="3154246"/>
                </a:cubicBezTo>
                <a:cubicBezTo>
                  <a:pt x="4346464" y="3154246"/>
                  <a:pt x="4356398" y="3144312"/>
                  <a:pt x="4356398" y="3124443"/>
                </a:cubicBezTo>
                <a:lnTo>
                  <a:pt x="4356398" y="2751740"/>
                </a:lnTo>
                <a:cubicBezTo>
                  <a:pt x="4356398" y="2731872"/>
                  <a:pt x="4346464" y="2721938"/>
                  <a:pt x="4326595" y="2721938"/>
                </a:cubicBezTo>
                <a:close/>
                <a:moveTo>
                  <a:pt x="1841835" y="2142401"/>
                </a:moveTo>
                <a:cubicBezTo>
                  <a:pt x="1872419" y="2142401"/>
                  <a:pt x="1896753" y="2154456"/>
                  <a:pt x="1914835" y="2178566"/>
                </a:cubicBezTo>
                <a:cubicBezTo>
                  <a:pt x="1931578" y="2200890"/>
                  <a:pt x="1939950" y="2228684"/>
                  <a:pt x="1939950" y="2261947"/>
                </a:cubicBezTo>
                <a:cubicBezTo>
                  <a:pt x="1939950" y="2295880"/>
                  <a:pt x="1929569" y="2324232"/>
                  <a:pt x="1908808" y="2347002"/>
                </a:cubicBezTo>
                <a:cubicBezTo>
                  <a:pt x="1888046" y="2369773"/>
                  <a:pt x="1861480" y="2381158"/>
                  <a:pt x="1829110" y="2381158"/>
                </a:cubicBezTo>
                <a:cubicBezTo>
                  <a:pt x="1811921" y="2381158"/>
                  <a:pt x="1796405" y="2379038"/>
                  <a:pt x="1782564" y="2374796"/>
                </a:cubicBezTo>
                <a:cubicBezTo>
                  <a:pt x="1763142" y="2367206"/>
                  <a:pt x="1748073" y="2360955"/>
                  <a:pt x="1737358" y="2356044"/>
                </a:cubicBezTo>
                <a:lnTo>
                  <a:pt x="1737023" y="2301126"/>
                </a:lnTo>
                <a:lnTo>
                  <a:pt x="1736688" y="2248887"/>
                </a:lnTo>
                <a:lnTo>
                  <a:pt x="1737358" y="2190956"/>
                </a:lnTo>
                <a:cubicBezTo>
                  <a:pt x="1760128" y="2173990"/>
                  <a:pt x="1776202" y="2162939"/>
                  <a:pt x="1785578" y="2157805"/>
                </a:cubicBezTo>
                <a:cubicBezTo>
                  <a:pt x="1804777" y="2147535"/>
                  <a:pt x="1823529" y="2142401"/>
                  <a:pt x="1841835" y="2142401"/>
                </a:cubicBezTo>
                <a:close/>
                <a:moveTo>
                  <a:pt x="2601119" y="2141061"/>
                </a:moveTo>
                <a:cubicBezTo>
                  <a:pt x="2635722" y="2141061"/>
                  <a:pt x="2662622" y="2149991"/>
                  <a:pt x="2681821" y="2167850"/>
                </a:cubicBezTo>
                <a:cubicBezTo>
                  <a:pt x="2664631" y="2182361"/>
                  <a:pt x="2635833" y="2199439"/>
                  <a:pt x="2595426" y="2219085"/>
                </a:cubicBezTo>
                <a:lnTo>
                  <a:pt x="2492623" y="2267975"/>
                </a:lnTo>
                <a:cubicBezTo>
                  <a:pt x="2501553" y="2225559"/>
                  <a:pt x="2515059" y="2193802"/>
                  <a:pt x="2533142" y="2172706"/>
                </a:cubicBezTo>
                <a:cubicBezTo>
                  <a:pt x="2551224" y="2151610"/>
                  <a:pt x="2573883" y="2141061"/>
                  <a:pt x="2601119" y="2141061"/>
                </a:cubicBezTo>
                <a:close/>
                <a:moveTo>
                  <a:pt x="2229644" y="2141061"/>
                </a:moveTo>
                <a:cubicBezTo>
                  <a:pt x="2264247" y="2141061"/>
                  <a:pt x="2291147" y="2149991"/>
                  <a:pt x="2310346" y="2167850"/>
                </a:cubicBezTo>
                <a:cubicBezTo>
                  <a:pt x="2293156" y="2182361"/>
                  <a:pt x="2264358" y="2199439"/>
                  <a:pt x="2223951" y="2219085"/>
                </a:cubicBezTo>
                <a:lnTo>
                  <a:pt x="2121148" y="2267975"/>
                </a:lnTo>
                <a:cubicBezTo>
                  <a:pt x="2130078" y="2225559"/>
                  <a:pt x="2143584" y="2193802"/>
                  <a:pt x="2161667" y="2172706"/>
                </a:cubicBezTo>
                <a:cubicBezTo>
                  <a:pt x="2179749" y="2151610"/>
                  <a:pt x="2202408" y="2141061"/>
                  <a:pt x="2229644" y="2141061"/>
                </a:cubicBezTo>
                <a:close/>
                <a:moveTo>
                  <a:pt x="3560502" y="2140392"/>
                </a:moveTo>
                <a:cubicBezTo>
                  <a:pt x="3564074" y="2140392"/>
                  <a:pt x="3568818" y="2141396"/>
                  <a:pt x="3574734" y="2143405"/>
                </a:cubicBezTo>
                <a:cubicBezTo>
                  <a:pt x="3580650" y="2145415"/>
                  <a:pt x="3587738" y="2148540"/>
                  <a:pt x="3595998" y="2152782"/>
                </a:cubicBezTo>
                <a:cubicBezTo>
                  <a:pt x="3593542" y="2165506"/>
                  <a:pt x="3591700" y="2177506"/>
                  <a:pt x="3590473" y="2188779"/>
                </a:cubicBezTo>
                <a:cubicBezTo>
                  <a:pt x="3589245" y="2200053"/>
                  <a:pt x="3588631" y="2210490"/>
                  <a:pt x="3588631" y="2220089"/>
                </a:cubicBezTo>
                <a:cubicBezTo>
                  <a:pt x="3588631" y="2249557"/>
                  <a:pt x="3592203" y="2293871"/>
                  <a:pt x="3599346" y="2353030"/>
                </a:cubicBezTo>
                <a:cubicBezTo>
                  <a:pt x="3584836" y="2365755"/>
                  <a:pt x="3573562" y="2374238"/>
                  <a:pt x="3565525" y="2378479"/>
                </a:cubicBezTo>
                <a:cubicBezTo>
                  <a:pt x="3550568" y="2386293"/>
                  <a:pt x="3532374" y="2390200"/>
                  <a:pt x="3510943" y="2390200"/>
                </a:cubicBezTo>
                <a:cubicBezTo>
                  <a:pt x="3485046" y="2390200"/>
                  <a:pt x="3465624" y="2381047"/>
                  <a:pt x="3452676" y="2362741"/>
                </a:cubicBezTo>
                <a:cubicBezTo>
                  <a:pt x="3439728" y="2344435"/>
                  <a:pt x="3433254" y="2316976"/>
                  <a:pt x="3433254" y="2280365"/>
                </a:cubicBezTo>
                <a:cubicBezTo>
                  <a:pt x="3433254" y="2243530"/>
                  <a:pt x="3445812" y="2210992"/>
                  <a:pt x="3470926" y="2182752"/>
                </a:cubicBezTo>
                <a:cubicBezTo>
                  <a:pt x="3496041" y="2154512"/>
                  <a:pt x="3525900" y="2140392"/>
                  <a:pt x="3560502" y="2140392"/>
                </a:cubicBezTo>
                <a:close/>
                <a:moveTo>
                  <a:pt x="3556149" y="2081121"/>
                </a:moveTo>
                <a:cubicBezTo>
                  <a:pt x="3504580" y="2081121"/>
                  <a:pt x="3460211" y="2100320"/>
                  <a:pt x="3423041" y="2138717"/>
                </a:cubicBezTo>
                <a:cubicBezTo>
                  <a:pt x="3385871" y="2177115"/>
                  <a:pt x="3367286" y="2223326"/>
                  <a:pt x="3367286" y="2277351"/>
                </a:cubicBezTo>
                <a:cubicBezTo>
                  <a:pt x="3367286" y="2334501"/>
                  <a:pt x="3378560" y="2376917"/>
                  <a:pt x="3401107" y="2404599"/>
                </a:cubicBezTo>
                <a:cubicBezTo>
                  <a:pt x="3424994" y="2434067"/>
                  <a:pt x="3463057" y="2448801"/>
                  <a:pt x="3515296" y="2448801"/>
                </a:cubicBezTo>
                <a:cubicBezTo>
                  <a:pt x="3526235" y="2448801"/>
                  <a:pt x="3539852" y="2445843"/>
                  <a:pt x="3556149" y="2439927"/>
                </a:cubicBezTo>
                <a:cubicBezTo>
                  <a:pt x="3572446" y="2434011"/>
                  <a:pt x="3591310" y="2425249"/>
                  <a:pt x="3612741" y="2413640"/>
                </a:cubicBezTo>
                <a:cubicBezTo>
                  <a:pt x="3617652" y="2420784"/>
                  <a:pt x="3625131" y="2428932"/>
                  <a:pt x="3635177" y="2438085"/>
                </a:cubicBezTo>
                <a:cubicBezTo>
                  <a:pt x="3646339" y="2447908"/>
                  <a:pt x="3654041" y="2452819"/>
                  <a:pt x="3658282" y="2452819"/>
                </a:cubicBezTo>
                <a:cubicBezTo>
                  <a:pt x="3666542" y="2452819"/>
                  <a:pt x="3673798" y="2449917"/>
                  <a:pt x="3680048" y="2444113"/>
                </a:cubicBezTo>
                <a:cubicBezTo>
                  <a:pt x="3686299" y="2438308"/>
                  <a:pt x="3689425" y="2430941"/>
                  <a:pt x="3689425" y="2422012"/>
                </a:cubicBezTo>
                <a:lnTo>
                  <a:pt x="3687415" y="2416319"/>
                </a:lnTo>
                <a:cubicBezTo>
                  <a:pt x="3683844" y="2408506"/>
                  <a:pt x="3681276" y="2402590"/>
                  <a:pt x="3679714" y="2398571"/>
                </a:cubicBezTo>
                <a:cubicBezTo>
                  <a:pt x="3667882" y="2369103"/>
                  <a:pt x="3660850" y="2349458"/>
                  <a:pt x="3658617" y="2339635"/>
                </a:cubicBezTo>
                <a:cubicBezTo>
                  <a:pt x="3654599" y="2323562"/>
                  <a:pt x="3652701" y="2301684"/>
                  <a:pt x="3652925" y="2274002"/>
                </a:cubicBezTo>
                <a:cubicBezTo>
                  <a:pt x="3653148" y="2243641"/>
                  <a:pt x="3653873" y="2218750"/>
                  <a:pt x="3655101" y="2199328"/>
                </a:cubicBezTo>
                <a:cubicBezTo>
                  <a:pt x="3656329" y="2179906"/>
                  <a:pt x="3658059" y="2165953"/>
                  <a:pt x="3660292" y="2157470"/>
                </a:cubicBezTo>
                <a:cubicBezTo>
                  <a:pt x="3664756" y="2152782"/>
                  <a:pt x="3666989" y="2147424"/>
                  <a:pt x="3666989" y="2141396"/>
                </a:cubicBezTo>
                <a:cubicBezTo>
                  <a:pt x="3666989" y="2123760"/>
                  <a:pt x="3651808" y="2108691"/>
                  <a:pt x="3621447" y="2096190"/>
                </a:cubicBezTo>
                <a:cubicBezTo>
                  <a:pt x="3597337" y="2086144"/>
                  <a:pt x="3575571" y="2081121"/>
                  <a:pt x="3556149" y="2081121"/>
                </a:cubicBezTo>
                <a:close/>
                <a:moveTo>
                  <a:pt x="2601119" y="2080786"/>
                </a:moveTo>
                <a:cubicBezTo>
                  <a:pt x="2549997" y="2080786"/>
                  <a:pt x="2509143" y="2102217"/>
                  <a:pt x="2478559" y="2145080"/>
                </a:cubicBezTo>
                <a:cubicBezTo>
                  <a:pt x="2450430" y="2184370"/>
                  <a:pt x="2436366" y="2233037"/>
                  <a:pt x="2436366" y="2291080"/>
                </a:cubicBezTo>
                <a:cubicBezTo>
                  <a:pt x="2436366" y="2341310"/>
                  <a:pt x="2453444" y="2380377"/>
                  <a:pt x="2487600" y="2408282"/>
                </a:cubicBezTo>
                <a:cubicBezTo>
                  <a:pt x="2518854" y="2433509"/>
                  <a:pt x="2559708" y="2446122"/>
                  <a:pt x="2610160" y="2446122"/>
                </a:cubicBezTo>
                <a:cubicBezTo>
                  <a:pt x="2642530" y="2446122"/>
                  <a:pt x="2675793" y="2438532"/>
                  <a:pt x="2709950" y="2423351"/>
                </a:cubicBezTo>
                <a:cubicBezTo>
                  <a:pt x="2749910" y="2405492"/>
                  <a:pt x="2769890" y="2384172"/>
                  <a:pt x="2769890" y="2359392"/>
                </a:cubicBezTo>
                <a:cubicBezTo>
                  <a:pt x="2769890" y="2351579"/>
                  <a:pt x="2766820" y="2344714"/>
                  <a:pt x="2760681" y="2338798"/>
                </a:cubicBezTo>
                <a:cubicBezTo>
                  <a:pt x="2754542" y="2332882"/>
                  <a:pt x="2747566" y="2329924"/>
                  <a:pt x="2739752" y="2329924"/>
                </a:cubicBezTo>
                <a:cubicBezTo>
                  <a:pt x="2731046" y="2329924"/>
                  <a:pt x="2722898" y="2335896"/>
                  <a:pt x="2715307" y="2347839"/>
                </a:cubicBezTo>
                <a:cubicBezTo>
                  <a:pt x="2707717" y="2359783"/>
                  <a:pt x="2690751" y="2369438"/>
                  <a:pt x="2664408" y="2376805"/>
                </a:cubicBezTo>
                <a:cubicBezTo>
                  <a:pt x="2643647" y="2382609"/>
                  <a:pt x="2625564" y="2385512"/>
                  <a:pt x="2610160" y="2385512"/>
                </a:cubicBezTo>
                <a:cubicBezTo>
                  <a:pt x="2585380" y="2385512"/>
                  <a:pt x="2563670" y="2380823"/>
                  <a:pt x="2545029" y="2371447"/>
                </a:cubicBezTo>
                <a:cubicBezTo>
                  <a:pt x="2526389" y="2362071"/>
                  <a:pt x="2510818" y="2348119"/>
                  <a:pt x="2498316" y="2329589"/>
                </a:cubicBezTo>
                <a:lnTo>
                  <a:pt x="2626234" y="2268979"/>
                </a:lnTo>
                <a:cubicBezTo>
                  <a:pt x="2662399" y="2252013"/>
                  <a:pt x="2686063" y="2239511"/>
                  <a:pt x="2697225" y="2231474"/>
                </a:cubicBezTo>
                <a:cubicBezTo>
                  <a:pt x="2722451" y="2213169"/>
                  <a:pt x="2735064" y="2192854"/>
                  <a:pt x="2735064" y="2170529"/>
                </a:cubicBezTo>
                <a:cubicBezTo>
                  <a:pt x="2735064" y="2138606"/>
                  <a:pt x="2720665" y="2114942"/>
                  <a:pt x="2691867" y="2099538"/>
                </a:cubicBezTo>
                <a:cubicBezTo>
                  <a:pt x="2668426" y="2087037"/>
                  <a:pt x="2638177" y="2080786"/>
                  <a:pt x="2601119" y="2080786"/>
                </a:cubicBezTo>
                <a:close/>
                <a:moveTo>
                  <a:pt x="2229644" y="2080786"/>
                </a:moveTo>
                <a:cubicBezTo>
                  <a:pt x="2178522" y="2080786"/>
                  <a:pt x="2137668" y="2102217"/>
                  <a:pt x="2107084" y="2145080"/>
                </a:cubicBezTo>
                <a:cubicBezTo>
                  <a:pt x="2078956" y="2184370"/>
                  <a:pt x="2064891" y="2233037"/>
                  <a:pt x="2064891" y="2291080"/>
                </a:cubicBezTo>
                <a:cubicBezTo>
                  <a:pt x="2064891" y="2341310"/>
                  <a:pt x="2081969" y="2380377"/>
                  <a:pt x="2116125" y="2408282"/>
                </a:cubicBezTo>
                <a:cubicBezTo>
                  <a:pt x="2147379" y="2433509"/>
                  <a:pt x="2188233" y="2446122"/>
                  <a:pt x="2238685" y="2446122"/>
                </a:cubicBezTo>
                <a:cubicBezTo>
                  <a:pt x="2271055" y="2446122"/>
                  <a:pt x="2304318" y="2438532"/>
                  <a:pt x="2338475" y="2423351"/>
                </a:cubicBezTo>
                <a:cubicBezTo>
                  <a:pt x="2378435" y="2405492"/>
                  <a:pt x="2398415" y="2384172"/>
                  <a:pt x="2398415" y="2359392"/>
                </a:cubicBezTo>
                <a:cubicBezTo>
                  <a:pt x="2398415" y="2351579"/>
                  <a:pt x="2395345" y="2344714"/>
                  <a:pt x="2389206" y="2338798"/>
                </a:cubicBezTo>
                <a:cubicBezTo>
                  <a:pt x="2383067" y="2332882"/>
                  <a:pt x="2376091" y="2329924"/>
                  <a:pt x="2368277" y="2329924"/>
                </a:cubicBezTo>
                <a:cubicBezTo>
                  <a:pt x="2359571" y="2329924"/>
                  <a:pt x="2351423" y="2335896"/>
                  <a:pt x="2343832" y="2347839"/>
                </a:cubicBezTo>
                <a:cubicBezTo>
                  <a:pt x="2336242" y="2359783"/>
                  <a:pt x="2319276" y="2369438"/>
                  <a:pt x="2292933" y="2376805"/>
                </a:cubicBezTo>
                <a:cubicBezTo>
                  <a:pt x="2272172" y="2382609"/>
                  <a:pt x="2254089" y="2385512"/>
                  <a:pt x="2238685" y="2385512"/>
                </a:cubicBezTo>
                <a:cubicBezTo>
                  <a:pt x="2213905" y="2385512"/>
                  <a:pt x="2192195" y="2380823"/>
                  <a:pt x="2173554" y="2371447"/>
                </a:cubicBezTo>
                <a:cubicBezTo>
                  <a:pt x="2154914" y="2362071"/>
                  <a:pt x="2139343" y="2348119"/>
                  <a:pt x="2126841" y="2329589"/>
                </a:cubicBezTo>
                <a:lnTo>
                  <a:pt x="2254759" y="2268979"/>
                </a:lnTo>
                <a:cubicBezTo>
                  <a:pt x="2290924" y="2252013"/>
                  <a:pt x="2314588" y="2239511"/>
                  <a:pt x="2325750" y="2231474"/>
                </a:cubicBezTo>
                <a:cubicBezTo>
                  <a:pt x="2350976" y="2213169"/>
                  <a:pt x="2363589" y="2192854"/>
                  <a:pt x="2363589" y="2170529"/>
                </a:cubicBezTo>
                <a:cubicBezTo>
                  <a:pt x="2363589" y="2138606"/>
                  <a:pt x="2349190" y="2114942"/>
                  <a:pt x="2320392" y="2099538"/>
                </a:cubicBezTo>
                <a:cubicBezTo>
                  <a:pt x="2296951" y="2087037"/>
                  <a:pt x="2266702" y="2080786"/>
                  <a:pt x="2229644" y="2080786"/>
                </a:cubicBezTo>
                <a:close/>
                <a:moveTo>
                  <a:pt x="2860750" y="2065047"/>
                </a:moveTo>
                <a:cubicBezTo>
                  <a:pt x="2851373" y="2065047"/>
                  <a:pt x="2843504" y="2068117"/>
                  <a:pt x="2837142" y="2074256"/>
                </a:cubicBezTo>
                <a:cubicBezTo>
                  <a:pt x="2830779" y="2080395"/>
                  <a:pt x="2827598" y="2088265"/>
                  <a:pt x="2827598" y="2097864"/>
                </a:cubicBezTo>
                <a:cubicBezTo>
                  <a:pt x="2827598" y="2105008"/>
                  <a:pt x="2827989" y="2115612"/>
                  <a:pt x="2828770" y="2129676"/>
                </a:cubicBezTo>
                <a:cubicBezTo>
                  <a:pt x="2829552" y="2143740"/>
                  <a:pt x="2829942" y="2154344"/>
                  <a:pt x="2829942" y="2161488"/>
                </a:cubicBezTo>
                <a:cubicBezTo>
                  <a:pt x="2829942" y="2184482"/>
                  <a:pt x="2828324" y="2216350"/>
                  <a:pt x="2825087" y="2257092"/>
                </a:cubicBezTo>
                <a:cubicBezTo>
                  <a:pt x="2821850" y="2297833"/>
                  <a:pt x="2820231" y="2329701"/>
                  <a:pt x="2820231" y="2352695"/>
                </a:cubicBezTo>
                <a:cubicBezTo>
                  <a:pt x="2820231" y="2359392"/>
                  <a:pt x="2820957" y="2369438"/>
                  <a:pt x="2822408" y="2382833"/>
                </a:cubicBezTo>
                <a:cubicBezTo>
                  <a:pt x="2823859" y="2396227"/>
                  <a:pt x="2824584" y="2406273"/>
                  <a:pt x="2824584" y="2412970"/>
                </a:cubicBezTo>
                <a:cubicBezTo>
                  <a:pt x="2824584" y="2423016"/>
                  <a:pt x="2827598" y="2431165"/>
                  <a:pt x="2833626" y="2437415"/>
                </a:cubicBezTo>
                <a:cubicBezTo>
                  <a:pt x="2839653" y="2443666"/>
                  <a:pt x="2847578" y="2446792"/>
                  <a:pt x="2857401" y="2446792"/>
                </a:cubicBezTo>
                <a:cubicBezTo>
                  <a:pt x="2867000" y="2446792"/>
                  <a:pt x="2874870" y="2443666"/>
                  <a:pt x="2881009" y="2437415"/>
                </a:cubicBezTo>
                <a:cubicBezTo>
                  <a:pt x="2887148" y="2431165"/>
                  <a:pt x="2890218" y="2423016"/>
                  <a:pt x="2890218" y="2412970"/>
                </a:cubicBezTo>
                <a:cubicBezTo>
                  <a:pt x="2890218" y="2406273"/>
                  <a:pt x="2889548" y="2396227"/>
                  <a:pt x="2888208" y="2382833"/>
                </a:cubicBezTo>
                <a:cubicBezTo>
                  <a:pt x="2886869" y="2369438"/>
                  <a:pt x="2886199" y="2359392"/>
                  <a:pt x="2886199" y="2352695"/>
                </a:cubicBezTo>
                <a:cubicBezTo>
                  <a:pt x="2886199" y="2342203"/>
                  <a:pt x="2886869" y="2331375"/>
                  <a:pt x="2888208" y="2320213"/>
                </a:cubicBezTo>
                <a:cubicBezTo>
                  <a:pt x="2889771" y="2307042"/>
                  <a:pt x="2890776" y="2296103"/>
                  <a:pt x="2891222" y="2287397"/>
                </a:cubicBezTo>
                <a:cubicBezTo>
                  <a:pt x="2902831" y="2246097"/>
                  <a:pt x="2918904" y="2211941"/>
                  <a:pt x="2939443" y="2184928"/>
                </a:cubicBezTo>
                <a:cubicBezTo>
                  <a:pt x="2962213" y="2155237"/>
                  <a:pt x="2986100" y="2140392"/>
                  <a:pt x="3011103" y="2140392"/>
                </a:cubicBezTo>
                <a:cubicBezTo>
                  <a:pt x="3028963" y="2140392"/>
                  <a:pt x="3037892" y="2164502"/>
                  <a:pt x="3037892" y="2212722"/>
                </a:cubicBezTo>
                <a:cubicBezTo>
                  <a:pt x="3037892" y="2218973"/>
                  <a:pt x="3037502" y="2229577"/>
                  <a:pt x="3036720" y="2244534"/>
                </a:cubicBezTo>
                <a:cubicBezTo>
                  <a:pt x="3035939" y="2259491"/>
                  <a:pt x="3035548" y="2270095"/>
                  <a:pt x="3035548" y="2276346"/>
                </a:cubicBezTo>
                <a:cubicBezTo>
                  <a:pt x="3035548" y="2299117"/>
                  <a:pt x="3037111" y="2323562"/>
                  <a:pt x="3040236" y="2349681"/>
                </a:cubicBezTo>
                <a:lnTo>
                  <a:pt x="3049613" y="2423016"/>
                </a:lnTo>
                <a:cubicBezTo>
                  <a:pt x="3052068" y="2444001"/>
                  <a:pt x="3062895" y="2454493"/>
                  <a:pt x="3082094" y="2454493"/>
                </a:cubicBezTo>
                <a:cubicBezTo>
                  <a:pt x="3091694" y="2454493"/>
                  <a:pt x="3099675" y="2451424"/>
                  <a:pt x="3106037" y="2445285"/>
                </a:cubicBezTo>
                <a:cubicBezTo>
                  <a:pt x="3112399" y="2439146"/>
                  <a:pt x="3115581" y="2431165"/>
                  <a:pt x="3115581" y="2421342"/>
                </a:cubicBezTo>
                <a:cubicBezTo>
                  <a:pt x="3115581" y="2403036"/>
                  <a:pt x="3113181" y="2379205"/>
                  <a:pt x="3108381" y="2349849"/>
                </a:cubicBezTo>
                <a:cubicBezTo>
                  <a:pt x="3103581" y="2320492"/>
                  <a:pt x="3101181" y="2296550"/>
                  <a:pt x="3101181" y="2278020"/>
                </a:cubicBezTo>
                <a:lnTo>
                  <a:pt x="3101516" y="2246878"/>
                </a:lnTo>
                <a:lnTo>
                  <a:pt x="3101516" y="2213057"/>
                </a:lnTo>
                <a:cubicBezTo>
                  <a:pt x="3100623" y="2171980"/>
                  <a:pt x="3095377" y="2140950"/>
                  <a:pt x="3085778" y="2119965"/>
                </a:cubicBezTo>
                <a:cubicBezTo>
                  <a:pt x="3071713" y="2088488"/>
                  <a:pt x="3046822" y="2072749"/>
                  <a:pt x="3011103" y="2072749"/>
                </a:cubicBezTo>
                <a:cubicBezTo>
                  <a:pt x="2971589" y="2072749"/>
                  <a:pt x="2933080" y="2097752"/>
                  <a:pt x="2895575" y="2147759"/>
                </a:cubicBezTo>
                <a:lnTo>
                  <a:pt x="2894571" y="2108580"/>
                </a:lnTo>
                <a:cubicBezTo>
                  <a:pt x="2892562" y="2079558"/>
                  <a:pt x="2881288" y="2065047"/>
                  <a:pt x="2860750" y="2065047"/>
                </a:cubicBezTo>
                <a:close/>
                <a:moveTo>
                  <a:pt x="1347466" y="2048304"/>
                </a:moveTo>
                <a:cubicBezTo>
                  <a:pt x="1336750" y="2048304"/>
                  <a:pt x="1326815" y="2050313"/>
                  <a:pt x="1317663" y="2054332"/>
                </a:cubicBezTo>
                <a:cubicBezTo>
                  <a:pt x="1304938" y="2060136"/>
                  <a:pt x="1283841" y="2067224"/>
                  <a:pt x="1254374" y="2075596"/>
                </a:cubicBezTo>
                <a:cubicBezTo>
                  <a:pt x="1224905" y="2083967"/>
                  <a:pt x="1203474" y="2091167"/>
                  <a:pt x="1190080" y="2097194"/>
                </a:cubicBezTo>
                <a:cubicBezTo>
                  <a:pt x="1146101" y="2117063"/>
                  <a:pt x="1124112" y="2150326"/>
                  <a:pt x="1124112" y="2196984"/>
                </a:cubicBezTo>
                <a:cubicBezTo>
                  <a:pt x="1124112" y="2222210"/>
                  <a:pt x="1133153" y="2241074"/>
                  <a:pt x="1151236" y="2253575"/>
                </a:cubicBezTo>
                <a:cubicBezTo>
                  <a:pt x="1163737" y="2262282"/>
                  <a:pt x="1184834" y="2269872"/>
                  <a:pt x="1214525" y="2276346"/>
                </a:cubicBezTo>
                <a:lnTo>
                  <a:pt x="1249351" y="2284048"/>
                </a:lnTo>
                <a:cubicBezTo>
                  <a:pt x="1291766" y="2294764"/>
                  <a:pt x="1312975" y="2315302"/>
                  <a:pt x="1312975" y="2345663"/>
                </a:cubicBezTo>
                <a:cubicBezTo>
                  <a:pt x="1312975" y="2359727"/>
                  <a:pt x="1302594" y="2369996"/>
                  <a:pt x="1281832" y="2376470"/>
                </a:cubicBezTo>
                <a:cubicBezTo>
                  <a:pt x="1267545" y="2380935"/>
                  <a:pt x="1251025" y="2383168"/>
                  <a:pt x="1232272" y="2383168"/>
                </a:cubicBezTo>
                <a:cubicBezTo>
                  <a:pt x="1222003" y="2383168"/>
                  <a:pt x="1209390" y="2381828"/>
                  <a:pt x="1194433" y="2379149"/>
                </a:cubicBezTo>
                <a:cubicBezTo>
                  <a:pt x="1175680" y="2375801"/>
                  <a:pt x="1163625" y="2371559"/>
                  <a:pt x="1158268" y="2366424"/>
                </a:cubicBezTo>
                <a:cubicBezTo>
                  <a:pt x="1147329" y="2355709"/>
                  <a:pt x="1138399" y="2350351"/>
                  <a:pt x="1131479" y="2350351"/>
                </a:cubicBezTo>
                <a:cubicBezTo>
                  <a:pt x="1122549" y="2350351"/>
                  <a:pt x="1114568" y="2353700"/>
                  <a:pt x="1107536" y="2360397"/>
                </a:cubicBezTo>
                <a:cubicBezTo>
                  <a:pt x="1100504" y="2367094"/>
                  <a:pt x="1096988" y="2374908"/>
                  <a:pt x="1096988" y="2383837"/>
                </a:cubicBezTo>
                <a:cubicBezTo>
                  <a:pt x="1096988" y="2406161"/>
                  <a:pt x="1114178" y="2423574"/>
                  <a:pt x="1148556" y="2436076"/>
                </a:cubicBezTo>
                <a:cubicBezTo>
                  <a:pt x="1175122" y="2445899"/>
                  <a:pt x="1203028" y="2450810"/>
                  <a:pt x="1232272" y="2450810"/>
                </a:cubicBezTo>
                <a:cubicBezTo>
                  <a:pt x="1272233" y="2450810"/>
                  <a:pt x="1305273" y="2443220"/>
                  <a:pt x="1331392" y="2428039"/>
                </a:cubicBezTo>
                <a:cubicBezTo>
                  <a:pt x="1362869" y="2409510"/>
                  <a:pt x="1378608" y="2382051"/>
                  <a:pt x="1378608" y="2345663"/>
                </a:cubicBezTo>
                <a:cubicBezTo>
                  <a:pt x="1378608" y="2301238"/>
                  <a:pt x="1360413" y="2267305"/>
                  <a:pt x="1324025" y="2243864"/>
                </a:cubicBezTo>
                <a:cubicBezTo>
                  <a:pt x="1299022" y="2227791"/>
                  <a:pt x="1260848" y="2215178"/>
                  <a:pt x="1209502" y="2206025"/>
                </a:cubicBezTo>
                <a:cubicBezTo>
                  <a:pt x="1203028" y="2204909"/>
                  <a:pt x="1196442" y="2203123"/>
                  <a:pt x="1189745" y="2200667"/>
                </a:cubicBezTo>
                <a:cubicBezTo>
                  <a:pt x="1189968" y="2179682"/>
                  <a:pt x="1208051" y="2162046"/>
                  <a:pt x="1243993" y="2147759"/>
                </a:cubicBezTo>
                <a:cubicBezTo>
                  <a:pt x="1278819" y="2136373"/>
                  <a:pt x="1304603" y="2128560"/>
                  <a:pt x="1321346" y="2124318"/>
                </a:cubicBezTo>
                <a:cubicBezTo>
                  <a:pt x="1323802" y="2142624"/>
                  <a:pt x="1326704" y="2154679"/>
                  <a:pt x="1330052" y="2160483"/>
                </a:cubicBezTo>
                <a:cubicBezTo>
                  <a:pt x="1334964" y="2168743"/>
                  <a:pt x="1343559" y="2172873"/>
                  <a:pt x="1355837" y="2172873"/>
                </a:cubicBezTo>
                <a:cubicBezTo>
                  <a:pt x="1365436" y="2172873"/>
                  <a:pt x="1373306" y="2169748"/>
                  <a:pt x="1379445" y="2163497"/>
                </a:cubicBezTo>
                <a:cubicBezTo>
                  <a:pt x="1385584" y="2157246"/>
                  <a:pt x="1388654" y="2149098"/>
                  <a:pt x="1388654" y="2139052"/>
                </a:cubicBezTo>
                <a:cubicBezTo>
                  <a:pt x="1388654" y="2132578"/>
                  <a:pt x="1387258" y="2123090"/>
                  <a:pt x="1384468" y="2110589"/>
                </a:cubicBezTo>
                <a:cubicBezTo>
                  <a:pt x="1381677" y="2098087"/>
                  <a:pt x="1380282" y="2088600"/>
                  <a:pt x="1380282" y="2082126"/>
                </a:cubicBezTo>
                <a:cubicBezTo>
                  <a:pt x="1380282" y="2072080"/>
                  <a:pt x="1377212" y="2063931"/>
                  <a:pt x="1371073" y="2057680"/>
                </a:cubicBezTo>
                <a:cubicBezTo>
                  <a:pt x="1364934" y="2051430"/>
                  <a:pt x="1357065" y="2048304"/>
                  <a:pt x="1347466" y="2048304"/>
                </a:cubicBezTo>
                <a:close/>
                <a:moveTo>
                  <a:pt x="647415" y="1962914"/>
                </a:moveTo>
                <a:cubicBezTo>
                  <a:pt x="638039" y="1962914"/>
                  <a:pt x="630114" y="1965984"/>
                  <a:pt x="623640" y="1972123"/>
                </a:cubicBezTo>
                <a:cubicBezTo>
                  <a:pt x="617166" y="1978262"/>
                  <a:pt x="613929" y="1986020"/>
                  <a:pt x="613929" y="1995396"/>
                </a:cubicBezTo>
                <a:cubicBezTo>
                  <a:pt x="613929" y="2003879"/>
                  <a:pt x="614431" y="2017664"/>
                  <a:pt x="615436" y="2036752"/>
                </a:cubicBezTo>
                <a:cubicBezTo>
                  <a:pt x="616440" y="2055839"/>
                  <a:pt x="616943" y="2071075"/>
                  <a:pt x="616943" y="2082460"/>
                </a:cubicBezTo>
                <a:lnTo>
                  <a:pt x="546621" y="2076768"/>
                </a:lnTo>
                <a:cubicBezTo>
                  <a:pt x="537245" y="2076768"/>
                  <a:pt x="529543" y="2080005"/>
                  <a:pt x="523516" y="2086479"/>
                </a:cubicBezTo>
                <a:cubicBezTo>
                  <a:pt x="517488" y="2092953"/>
                  <a:pt x="514474" y="2101101"/>
                  <a:pt x="514474" y="2110924"/>
                </a:cubicBezTo>
                <a:cubicBezTo>
                  <a:pt x="514474" y="2130346"/>
                  <a:pt x="524409" y="2141396"/>
                  <a:pt x="544277" y="2144075"/>
                </a:cubicBezTo>
                <a:cubicBezTo>
                  <a:pt x="577540" y="2147201"/>
                  <a:pt x="602320" y="2149098"/>
                  <a:pt x="618617" y="2149768"/>
                </a:cubicBezTo>
                <a:lnTo>
                  <a:pt x="625314" y="2345328"/>
                </a:lnTo>
                <a:cubicBezTo>
                  <a:pt x="625314" y="2353811"/>
                  <a:pt x="624979" y="2366536"/>
                  <a:pt x="624309" y="2383502"/>
                </a:cubicBezTo>
                <a:cubicBezTo>
                  <a:pt x="623640" y="2400469"/>
                  <a:pt x="623305" y="2413194"/>
                  <a:pt x="623305" y="2421677"/>
                </a:cubicBezTo>
                <a:cubicBezTo>
                  <a:pt x="623305" y="2430383"/>
                  <a:pt x="626598" y="2437639"/>
                  <a:pt x="633184" y="2443443"/>
                </a:cubicBezTo>
                <a:cubicBezTo>
                  <a:pt x="639769" y="2449247"/>
                  <a:pt x="647527" y="2452149"/>
                  <a:pt x="656457" y="2452149"/>
                </a:cubicBezTo>
                <a:cubicBezTo>
                  <a:pt x="680790" y="2452149"/>
                  <a:pt x="692510" y="2427704"/>
                  <a:pt x="691617" y="2378814"/>
                </a:cubicBezTo>
                <a:lnTo>
                  <a:pt x="691282" y="2361736"/>
                </a:lnTo>
                <a:lnTo>
                  <a:pt x="690947" y="2347002"/>
                </a:lnTo>
                <a:lnTo>
                  <a:pt x="684585" y="2149098"/>
                </a:lnTo>
                <a:cubicBezTo>
                  <a:pt x="709811" y="2145750"/>
                  <a:pt x="724992" y="2144075"/>
                  <a:pt x="730126" y="2144075"/>
                </a:cubicBezTo>
                <a:cubicBezTo>
                  <a:pt x="734814" y="2144075"/>
                  <a:pt x="740340" y="2144298"/>
                  <a:pt x="746702" y="2144745"/>
                </a:cubicBezTo>
                <a:cubicBezTo>
                  <a:pt x="753064" y="2145191"/>
                  <a:pt x="758590" y="2145415"/>
                  <a:pt x="763278" y="2145415"/>
                </a:cubicBezTo>
                <a:cubicBezTo>
                  <a:pt x="772877" y="2145415"/>
                  <a:pt x="780746" y="2142233"/>
                  <a:pt x="786886" y="2135871"/>
                </a:cubicBezTo>
                <a:cubicBezTo>
                  <a:pt x="793025" y="2129509"/>
                  <a:pt x="796094" y="2121416"/>
                  <a:pt x="796094" y="2111593"/>
                </a:cubicBezTo>
                <a:cubicBezTo>
                  <a:pt x="796094" y="2095074"/>
                  <a:pt x="789286" y="2084581"/>
                  <a:pt x="775668" y="2080116"/>
                </a:cubicBezTo>
                <a:cubicBezTo>
                  <a:pt x="768524" y="2077884"/>
                  <a:pt x="753343" y="2076768"/>
                  <a:pt x="730126" y="2076768"/>
                </a:cubicBezTo>
                <a:cubicBezTo>
                  <a:pt x="726108" y="2076768"/>
                  <a:pt x="710258" y="2078554"/>
                  <a:pt x="682576" y="2082126"/>
                </a:cubicBezTo>
                <a:lnTo>
                  <a:pt x="682911" y="2061364"/>
                </a:lnTo>
                <a:lnTo>
                  <a:pt x="683581" y="2041942"/>
                </a:lnTo>
                <a:cubicBezTo>
                  <a:pt x="683581" y="2030333"/>
                  <a:pt x="683245" y="2020399"/>
                  <a:pt x="682576" y="2012139"/>
                </a:cubicBezTo>
                <a:cubicBezTo>
                  <a:pt x="679227" y="1979322"/>
                  <a:pt x="667507" y="1962914"/>
                  <a:pt x="647415" y="1962914"/>
                </a:cubicBezTo>
                <a:close/>
                <a:moveTo>
                  <a:pt x="279289" y="1930432"/>
                </a:moveTo>
                <a:cubicBezTo>
                  <a:pt x="229729" y="1930432"/>
                  <a:pt x="195908" y="1931325"/>
                  <a:pt x="177825" y="1933111"/>
                </a:cubicBezTo>
                <a:cubicBezTo>
                  <a:pt x="156840" y="1935121"/>
                  <a:pt x="146348" y="1946506"/>
                  <a:pt x="146348" y="1967267"/>
                </a:cubicBezTo>
                <a:cubicBezTo>
                  <a:pt x="146348" y="1977313"/>
                  <a:pt x="149585" y="1985573"/>
                  <a:pt x="156059" y="1992047"/>
                </a:cubicBezTo>
                <a:cubicBezTo>
                  <a:pt x="162533" y="1998521"/>
                  <a:pt x="170570" y="2001758"/>
                  <a:pt x="180169" y="2001758"/>
                </a:cubicBezTo>
                <a:lnTo>
                  <a:pt x="223701" y="2000754"/>
                </a:lnTo>
                <a:lnTo>
                  <a:pt x="267234" y="1999414"/>
                </a:lnTo>
                <a:cubicBezTo>
                  <a:pt x="260983" y="2076656"/>
                  <a:pt x="257858" y="2141061"/>
                  <a:pt x="257858" y="2192630"/>
                </a:cubicBezTo>
                <a:cubicBezTo>
                  <a:pt x="257858" y="2207811"/>
                  <a:pt x="258583" y="2226507"/>
                  <a:pt x="260034" y="2248720"/>
                </a:cubicBezTo>
                <a:cubicBezTo>
                  <a:pt x="261485" y="2270933"/>
                  <a:pt x="262211" y="2289741"/>
                  <a:pt x="262211" y="2305144"/>
                </a:cubicBezTo>
                <a:cubicBezTo>
                  <a:pt x="262211" y="2328362"/>
                  <a:pt x="261095" y="2349011"/>
                  <a:pt x="258862" y="2367094"/>
                </a:cubicBezTo>
                <a:cubicBezTo>
                  <a:pt x="225376" y="2371782"/>
                  <a:pt x="201377" y="2374126"/>
                  <a:pt x="186867" y="2374126"/>
                </a:cubicBezTo>
                <a:cubicBezTo>
                  <a:pt x="177490" y="2374126"/>
                  <a:pt x="169621" y="2377475"/>
                  <a:pt x="163259" y="2384172"/>
                </a:cubicBezTo>
                <a:cubicBezTo>
                  <a:pt x="156896" y="2390869"/>
                  <a:pt x="153715" y="2399018"/>
                  <a:pt x="153715" y="2408617"/>
                </a:cubicBezTo>
                <a:cubicBezTo>
                  <a:pt x="153715" y="2418217"/>
                  <a:pt x="156896" y="2426309"/>
                  <a:pt x="163259" y="2432895"/>
                </a:cubicBezTo>
                <a:cubicBezTo>
                  <a:pt x="169621" y="2439480"/>
                  <a:pt x="177490" y="2442773"/>
                  <a:pt x="186867" y="2442773"/>
                </a:cubicBezTo>
                <a:cubicBezTo>
                  <a:pt x="201824" y="2442773"/>
                  <a:pt x="223981" y="2440708"/>
                  <a:pt x="253337" y="2436578"/>
                </a:cubicBezTo>
                <a:cubicBezTo>
                  <a:pt x="282693" y="2432448"/>
                  <a:pt x="304738" y="2430383"/>
                  <a:pt x="319472" y="2430383"/>
                </a:cubicBezTo>
                <a:cubicBezTo>
                  <a:pt x="331974" y="2430383"/>
                  <a:pt x="350726" y="2430104"/>
                  <a:pt x="375729" y="2429546"/>
                </a:cubicBezTo>
                <a:cubicBezTo>
                  <a:pt x="400733" y="2428988"/>
                  <a:pt x="419485" y="2428709"/>
                  <a:pt x="431986" y="2428709"/>
                </a:cubicBezTo>
                <a:cubicBezTo>
                  <a:pt x="441363" y="2428709"/>
                  <a:pt x="449232" y="2425416"/>
                  <a:pt x="455594" y="2418830"/>
                </a:cubicBezTo>
                <a:cubicBezTo>
                  <a:pt x="461957" y="2412245"/>
                  <a:pt x="465138" y="2404041"/>
                  <a:pt x="465138" y="2394218"/>
                </a:cubicBezTo>
                <a:cubicBezTo>
                  <a:pt x="465138" y="2384619"/>
                  <a:pt x="461957" y="2376526"/>
                  <a:pt x="455594" y="2369940"/>
                </a:cubicBezTo>
                <a:cubicBezTo>
                  <a:pt x="449232" y="2363355"/>
                  <a:pt x="441363" y="2360062"/>
                  <a:pt x="431986" y="2360062"/>
                </a:cubicBezTo>
                <a:lnTo>
                  <a:pt x="326505" y="2361401"/>
                </a:lnTo>
                <a:cubicBezTo>
                  <a:pt x="328067" y="2344212"/>
                  <a:pt x="328849" y="2325125"/>
                  <a:pt x="328849" y="2304140"/>
                </a:cubicBezTo>
                <a:cubicBezTo>
                  <a:pt x="328849" y="2288513"/>
                  <a:pt x="328402" y="2269202"/>
                  <a:pt x="327509" y="2246208"/>
                </a:cubicBezTo>
                <a:cubicBezTo>
                  <a:pt x="326616" y="2223215"/>
                  <a:pt x="326170" y="2203904"/>
                  <a:pt x="326170" y="2188277"/>
                </a:cubicBezTo>
                <a:cubicBezTo>
                  <a:pt x="326170" y="2129118"/>
                  <a:pt x="328737" y="2067057"/>
                  <a:pt x="333871" y="2002093"/>
                </a:cubicBezTo>
                <a:lnTo>
                  <a:pt x="387785" y="2009125"/>
                </a:lnTo>
                <a:cubicBezTo>
                  <a:pt x="409439" y="2012027"/>
                  <a:pt x="427410" y="2013479"/>
                  <a:pt x="441697" y="2013479"/>
                </a:cubicBezTo>
                <a:cubicBezTo>
                  <a:pt x="450404" y="2013479"/>
                  <a:pt x="458106" y="2010911"/>
                  <a:pt x="464803" y="2005777"/>
                </a:cubicBezTo>
                <a:cubicBezTo>
                  <a:pt x="472393" y="1999526"/>
                  <a:pt x="476188" y="1991154"/>
                  <a:pt x="476188" y="1980662"/>
                </a:cubicBezTo>
                <a:cubicBezTo>
                  <a:pt x="476188" y="1959677"/>
                  <a:pt x="466254" y="1947734"/>
                  <a:pt x="446386" y="1944832"/>
                </a:cubicBezTo>
                <a:cubicBezTo>
                  <a:pt x="379413" y="1935232"/>
                  <a:pt x="323714" y="1930432"/>
                  <a:pt x="279289" y="1930432"/>
                </a:cubicBezTo>
                <a:close/>
                <a:moveTo>
                  <a:pt x="1716931" y="1903309"/>
                </a:moveTo>
                <a:cubicBezTo>
                  <a:pt x="1703983" y="1903309"/>
                  <a:pt x="1693826" y="1910117"/>
                  <a:pt x="1686459" y="1923735"/>
                </a:cubicBezTo>
                <a:cubicBezTo>
                  <a:pt x="1680878" y="1934451"/>
                  <a:pt x="1678087" y="1946506"/>
                  <a:pt x="1678087" y="1959900"/>
                </a:cubicBezTo>
                <a:cubicBezTo>
                  <a:pt x="1678087" y="1976420"/>
                  <a:pt x="1677975" y="2007395"/>
                  <a:pt x="1677752" y="2052825"/>
                </a:cubicBezTo>
                <a:cubicBezTo>
                  <a:pt x="1677529" y="2098255"/>
                  <a:pt x="1677417" y="2129118"/>
                  <a:pt x="1677417" y="2145415"/>
                </a:cubicBezTo>
                <a:cubicBezTo>
                  <a:pt x="1677417" y="2169078"/>
                  <a:pt x="1678031" y="2204518"/>
                  <a:pt x="1679259" y="2251734"/>
                </a:cubicBezTo>
                <a:cubicBezTo>
                  <a:pt x="1680487" y="2298949"/>
                  <a:pt x="1681101" y="2334389"/>
                  <a:pt x="1681101" y="2358053"/>
                </a:cubicBezTo>
                <a:cubicBezTo>
                  <a:pt x="1681101" y="2363857"/>
                  <a:pt x="1680822" y="2372452"/>
                  <a:pt x="1680264" y="2383837"/>
                </a:cubicBezTo>
                <a:cubicBezTo>
                  <a:pt x="1679706" y="2395223"/>
                  <a:pt x="1679426" y="2403817"/>
                  <a:pt x="1679426" y="2409622"/>
                </a:cubicBezTo>
                <a:cubicBezTo>
                  <a:pt x="1679426" y="2418551"/>
                  <a:pt x="1682384" y="2425974"/>
                  <a:pt x="1688300" y="2431890"/>
                </a:cubicBezTo>
                <a:cubicBezTo>
                  <a:pt x="1694216" y="2437806"/>
                  <a:pt x="1701416" y="2440764"/>
                  <a:pt x="1709899" y="2440764"/>
                </a:cubicBezTo>
                <a:cubicBezTo>
                  <a:pt x="1720168" y="2440764"/>
                  <a:pt x="1728875" y="2435406"/>
                  <a:pt x="1736018" y="2424691"/>
                </a:cubicBezTo>
                <a:cubicBezTo>
                  <a:pt x="1763924" y="2438085"/>
                  <a:pt x="1794954" y="2444782"/>
                  <a:pt x="1829110" y="2444782"/>
                </a:cubicBezTo>
                <a:cubicBezTo>
                  <a:pt x="1878000" y="2444782"/>
                  <a:pt x="1918854" y="2427035"/>
                  <a:pt x="1951670" y="2391539"/>
                </a:cubicBezTo>
                <a:cubicBezTo>
                  <a:pt x="1984487" y="2356044"/>
                  <a:pt x="2000895" y="2312846"/>
                  <a:pt x="2000895" y="2261947"/>
                </a:cubicBezTo>
                <a:cubicBezTo>
                  <a:pt x="2000895" y="2211494"/>
                  <a:pt x="1986831" y="2168967"/>
                  <a:pt x="1958702" y="2134364"/>
                </a:cubicBezTo>
                <a:cubicBezTo>
                  <a:pt x="1928788" y="2097529"/>
                  <a:pt x="1889832" y="2079112"/>
                  <a:pt x="1841835" y="2079112"/>
                </a:cubicBezTo>
                <a:cubicBezTo>
                  <a:pt x="1826431" y="2079112"/>
                  <a:pt x="1809967" y="2082405"/>
                  <a:pt x="1792443" y="2088990"/>
                </a:cubicBezTo>
                <a:cubicBezTo>
                  <a:pt x="1774918" y="2095576"/>
                  <a:pt x="1756445" y="2105454"/>
                  <a:pt x="1737023" y="2118626"/>
                </a:cubicBezTo>
                <a:lnTo>
                  <a:pt x="1737693" y="2033235"/>
                </a:lnTo>
                <a:lnTo>
                  <a:pt x="1738697" y="1959900"/>
                </a:lnTo>
                <a:cubicBezTo>
                  <a:pt x="1738697" y="1956775"/>
                  <a:pt x="1739255" y="1952199"/>
                  <a:pt x="1740372" y="1946171"/>
                </a:cubicBezTo>
                <a:cubicBezTo>
                  <a:pt x="1741488" y="1940143"/>
                  <a:pt x="1742046" y="1935567"/>
                  <a:pt x="1742046" y="1932442"/>
                </a:cubicBezTo>
                <a:cubicBezTo>
                  <a:pt x="1742046" y="1913020"/>
                  <a:pt x="1733674" y="1903309"/>
                  <a:pt x="1716931" y="1903309"/>
                </a:cubicBezTo>
                <a:close/>
                <a:moveTo>
                  <a:pt x="943806" y="1874845"/>
                </a:moveTo>
                <a:cubicBezTo>
                  <a:pt x="928626" y="1874845"/>
                  <a:pt x="918803" y="1883663"/>
                  <a:pt x="914338" y="1901299"/>
                </a:cubicBezTo>
                <a:cubicBezTo>
                  <a:pt x="912552" y="1909113"/>
                  <a:pt x="911660" y="1924182"/>
                  <a:pt x="911660" y="1946506"/>
                </a:cubicBezTo>
                <a:cubicBezTo>
                  <a:pt x="911660" y="1952757"/>
                  <a:pt x="912273" y="1962077"/>
                  <a:pt x="913501" y="1974467"/>
                </a:cubicBezTo>
                <a:cubicBezTo>
                  <a:pt x="914729" y="1986857"/>
                  <a:pt x="915343" y="1996177"/>
                  <a:pt x="915343" y="2002428"/>
                </a:cubicBezTo>
                <a:cubicBezTo>
                  <a:pt x="915343" y="2018501"/>
                  <a:pt x="916236" y="2029105"/>
                  <a:pt x="918022" y="2034240"/>
                </a:cubicBezTo>
                <a:cubicBezTo>
                  <a:pt x="921817" y="2044063"/>
                  <a:pt x="930635" y="2048974"/>
                  <a:pt x="944476" y="2048974"/>
                </a:cubicBezTo>
                <a:cubicBezTo>
                  <a:pt x="964568" y="2048974"/>
                  <a:pt x="974614" y="2034687"/>
                  <a:pt x="974614" y="2006112"/>
                </a:cubicBezTo>
                <a:cubicBezTo>
                  <a:pt x="974614" y="1999414"/>
                  <a:pt x="974056" y="1989480"/>
                  <a:pt x="972939" y="1976309"/>
                </a:cubicBezTo>
                <a:cubicBezTo>
                  <a:pt x="971823" y="1963137"/>
                  <a:pt x="971265" y="1953203"/>
                  <a:pt x="971265" y="1946506"/>
                </a:cubicBezTo>
                <a:cubicBezTo>
                  <a:pt x="971265" y="1941818"/>
                  <a:pt x="971712" y="1934730"/>
                  <a:pt x="972605" y="1925242"/>
                </a:cubicBezTo>
                <a:cubicBezTo>
                  <a:pt x="973498" y="1915754"/>
                  <a:pt x="973944" y="1908666"/>
                  <a:pt x="973944" y="1903978"/>
                </a:cubicBezTo>
                <a:cubicBezTo>
                  <a:pt x="973944" y="1895495"/>
                  <a:pt x="971042" y="1888519"/>
                  <a:pt x="965237" y="1883049"/>
                </a:cubicBezTo>
                <a:cubicBezTo>
                  <a:pt x="959433" y="1877580"/>
                  <a:pt x="952290" y="1874845"/>
                  <a:pt x="943806" y="1874845"/>
                </a:cubicBezTo>
                <a:close/>
                <a:moveTo>
                  <a:pt x="1041884" y="1248390"/>
                </a:moveTo>
                <a:cubicBezTo>
                  <a:pt x="1061530" y="1248390"/>
                  <a:pt x="1078384" y="1252911"/>
                  <a:pt x="1092448" y="1261952"/>
                </a:cubicBezTo>
                <a:cubicBezTo>
                  <a:pt x="1106513" y="1270994"/>
                  <a:pt x="1117787" y="1284556"/>
                  <a:pt x="1126270" y="1302638"/>
                </a:cubicBezTo>
                <a:lnTo>
                  <a:pt x="1125600" y="1342152"/>
                </a:lnTo>
                <a:lnTo>
                  <a:pt x="1125265" y="1380996"/>
                </a:lnTo>
                <a:lnTo>
                  <a:pt x="1126270" y="1438928"/>
                </a:lnTo>
                <a:cubicBezTo>
                  <a:pt x="1123145" y="1442946"/>
                  <a:pt x="1119908" y="1446406"/>
                  <a:pt x="1116559" y="1449308"/>
                </a:cubicBezTo>
                <a:cubicBezTo>
                  <a:pt x="1099369" y="1463819"/>
                  <a:pt x="1086979" y="1473084"/>
                  <a:pt x="1079389" y="1477102"/>
                </a:cubicBezTo>
                <a:cubicBezTo>
                  <a:pt x="1066441" y="1484022"/>
                  <a:pt x="1050591" y="1487483"/>
                  <a:pt x="1031838" y="1487483"/>
                </a:cubicBezTo>
                <a:cubicBezTo>
                  <a:pt x="1004379" y="1487483"/>
                  <a:pt x="980437" y="1477102"/>
                  <a:pt x="960010" y="1456340"/>
                </a:cubicBezTo>
                <a:cubicBezTo>
                  <a:pt x="939583" y="1435579"/>
                  <a:pt x="929370" y="1410799"/>
                  <a:pt x="929370" y="1382001"/>
                </a:cubicBezTo>
                <a:cubicBezTo>
                  <a:pt x="929370" y="1337352"/>
                  <a:pt x="938746" y="1303922"/>
                  <a:pt x="957499" y="1281709"/>
                </a:cubicBezTo>
                <a:cubicBezTo>
                  <a:pt x="976251" y="1259497"/>
                  <a:pt x="1004379" y="1248390"/>
                  <a:pt x="1041884" y="1248390"/>
                </a:cubicBezTo>
                <a:close/>
                <a:moveTo>
                  <a:pt x="331528" y="1245042"/>
                </a:moveTo>
                <a:cubicBezTo>
                  <a:pt x="335099" y="1245042"/>
                  <a:pt x="339843" y="1246046"/>
                  <a:pt x="345759" y="1248055"/>
                </a:cubicBezTo>
                <a:cubicBezTo>
                  <a:pt x="351675" y="1250065"/>
                  <a:pt x="358763" y="1253190"/>
                  <a:pt x="367023" y="1257432"/>
                </a:cubicBezTo>
                <a:cubicBezTo>
                  <a:pt x="364567" y="1270156"/>
                  <a:pt x="362726" y="1282156"/>
                  <a:pt x="361498" y="1293429"/>
                </a:cubicBezTo>
                <a:cubicBezTo>
                  <a:pt x="360270" y="1304703"/>
                  <a:pt x="359656" y="1315140"/>
                  <a:pt x="359656" y="1324739"/>
                </a:cubicBezTo>
                <a:cubicBezTo>
                  <a:pt x="359656" y="1354207"/>
                  <a:pt x="363228" y="1398521"/>
                  <a:pt x="370372" y="1457680"/>
                </a:cubicBezTo>
                <a:cubicBezTo>
                  <a:pt x="355861" y="1470405"/>
                  <a:pt x="344587" y="1478888"/>
                  <a:pt x="336550" y="1483130"/>
                </a:cubicBezTo>
                <a:cubicBezTo>
                  <a:pt x="321593" y="1490943"/>
                  <a:pt x="303399" y="1494850"/>
                  <a:pt x="281968" y="1494850"/>
                </a:cubicBezTo>
                <a:cubicBezTo>
                  <a:pt x="256072" y="1494850"/>
                  <a:pt x="236650" y="1485697"/>
                  <a:pt x="223702" y="1467391"/>
                </a:cubicBezTo>
                <a:cubicBezTo>
                  <a:pt x="210754" y="1449085"/>
                  <a:pt x="204280" y="1421626"/>
                  <a:pt x="204280" y="1385015"/>
                </a:cubicBezTo>
                <a:cubicBezTo>
                  <a:pt x="204280" y="1348180"/>
                  <a:pt x="216837" y="1315642"/>
                  <a:pt x="241952" y="1287402"/>
                </a:cubicBezTo>
                <a:cubicBezTo>
                  <a:pt x="267066" y="1259162"/>
                  <a:pt x="296925" y="1245042"/>
                  <a:pt x="331528" y="1245042"/>
                </a:cubicBezTo>
                <a:close/>
                <a:moveTo>
                  <a:pt x="327174" y="1185771"/>
                </a:moveTo>
                <a:cubicBezTo>
                  <a:pt x="275605" y="1185771"/>
                  <a:pt x="231236" y="1204970"/>
                  <a:pt x="194066" y="1243367"/>
                </a:cubicBezTo>
                <a:cubicBezTo>
                  <a:pt x="156896" y="1281765"/>
                  <a:pt x="138311" y="1327976"/>
                  <a:pt x="138311" y="1382001"/>
                </a:cubicBezTo>
                <a:cubicBezTo>
                  <a:pt x="138311" y="1439151"/>
                  <a:pt x="149585" y="1481567"/>
                  <a:pt x="172133" y="1509249"/>
                </a:cubicBezTo>
                <a:cubicBezTo>
                  <a:pt x="196019" y="1538717"/>
                  <a:pt x="234082" y="1553451"/>
                  <a:pt x="286321" y="1553451"/>
                </a:cubicBezTo>
                <a:cubicBezTo>
                  <a:pt x="297260" y="1553451"/>
                  <a:pt x="310878" y="1550493"/>
                  <a:pt x="327174" y="1544577"/>
                </a:cubicBezTo>
                <a:cubicBezTo>
                  <a:pt x="343471" y="1538661"/>
                  <a:pt x="362335" y="1529899"/>
                  <a:pt x="383766" y="1518290"/>
                </a:cubicBezTo>
                <a:cubicBezTo>
                  <a:pt x="388677" y="1525434"/>
                  <a:pt x="396156" y="1533582"/>
                  <a:pt x="406202" y="1542735"/>
                </a:cubicBezTo>
                <a:cubicBezTo>
                  <a:pt x="417364" y="1552558"/>
                  <a:pt x="425066" y="1557469"/>
                  <a:pt x="429308" y="1557469"/>
                </a:cubicBezTo>
                <a:cubicBezTo>
                  <a:pt x="437568" y="1557469"/>
                  <a:pt x="444823" y="1554567"/>
                  <a:pt x="451074" y="1548763"/>
                </a:cubicBezTo>
                <a:cubicBezTo>
                  <a:pt x="457325" y="1542958"/>
                  <a:pt x="460450" y="1535591"/>
                  <a:pt x="460450" y="1526662"/>
                </a:cubicBezTo>
                <a:lnTo>
                  <a:pt x="458441" y="1520969"/>
                </a:lnTo>
                <a:cubicBezTo>
                  <a:pt x="454869" y="1513156"/>
                  <a:pt x="452302" y="1507240"/>
                  <a:pt x="450739" y="1503221"/>
                </a:cubicBezTo>
                <a:cubicBezTo>
                  <a:pt x="438907" y="1473753"/>
                  <a:pt x="431875" y="1454108"/>
                  <a:pt x="429643" y="1444285"/>
                </a:cubicBezTo>
                <a:cubicBezTo>
                  <a:pt x="425624" y="1428212"/>
                  <a:pt x="423727" y="1406334"/>
                  <a:pt x="423950" y="1378652"/>
                </a:cubicBezTo>
                <a:cubicBezTo>
                  <a:pt x="424173" y="1348291"/>
                  <a:pt x="424899" y="1323400"/>
                  <a:pt x="426126" y="1303978"/>
                </a:cubicBezTo>
                <a:cubicBezTo>
                  <a:pt x="427354" y="1284556"/>
                  <a:pt x="429084" y="1270603"/>
                  <a:pt x="431317" y="1262120"/>
                </a:cubicBezTo>
                <a:cubicBezTo>
                  <a:pt x="435782" y="1257432"/>
                  <a:pt x="438014" y="1252074"/>
                  <a:pt x="438014" y="1246046"/>
                </a:cubicBezTo>
                <a:cubicBezTo>
                  <a:pt x="438014" y="1228410"/>
                  <a:pt x="422834" y="1213341"/>
                  <a:pt x="392473" y="1200840"/>
                </a:cubicBezTo>
                <a:cubicBezTo>
                  <a:pt x="368363" y="1190794"/>
                  <a:pt x="346596" y="1185771"/>
                  <a:pt x="327174" y="1185771"/>
                </a:cubicBezTo>
                <a:close/>
                <a:moveTo>
                  <a:pt x="555700" y="1169697"/>
                </a:moveTo>
                <a:cubicBezTo>
                  <a:pt x="546324" y="1169697"/>
                  <a:pt x="538454" y="1172767"/>
                  <a:pt x="532092" y="1178906"/>
                </a:cubicBezTo>
                <a:cubicBezTo>
                  <a:pt x="525730" y="1185045"/>
                  <a:pt x="522548" y="1192915"/>
                  <a:pt x="522548" y="1202514"/>
                </a:cubicBezTo>
                <a:cubicBezTo>
                  <a:pt x="522548" y="1209658"/>
                  <a:pt x="522939" y="1220262"/>
                  <a:pt x="523720" y="1234326"/>
                </a:cubicBezTo>
                <a:cubicBezTo>
                  <a:pt x="524502" y="1248390"/>
                  <a:pt x="524893" y="1258994"/>
                  <a:pt x="524893" y="1266138"/>
                </a:cubicBezTo>
                <a:cubicBezTo>
                  <a:pt x="524893" y="1289132"/>
                  <a:pt x="523274" y="1321000"/>
                  <a:pt x="520037" y="1361742"/>
                </a:cubicBezTo>
                <a:cubicBezTo>
                  <a:pt x="516800" y="1402483"/>
                  <a:pt x="515181" y="1434351"/>
                  <a:pt x="515181" y="1457345"/>
                </a:cubicBezTo>
                <a:cubicBezTo>
                  <a:pt x="515181" y="1464042"/>
                  <a:pt x="515907" y="1474088"/>
                  <a:pt x="517358" y="1487483"/>
                </a:cubicBezTo>
                <a:cubicBezTo>
                  <a:pt x="518809" y="1500877"/>
                  <a:pt x="519535" y="1510923"/>
                  <a:pt x="519535" y="1517620"/>
                </a:cubicBezTo>
                <a:cubicBezTo>
                  <a:pt x="519535" y="1527666"/>
                  <a:pt x="522548" y="1535815"/>
                  <a:pt x="528576" y="1542065"/>
                </a:cubicBezTo>
                <a:cubicBezTo>
                  <a:pt x="534604" y="1548316"/>
                  <a:pt x="542529" y="1551442"/>
                  <a:pt x="552351" y="1551442"/>
                </a:cubicBezTo>
                <a:cubicBezTo>
                  <a:pt x="561951" y="1551442"/>
                  <a:pt x="569820" y="1548316"/>
                  <a:pt x="575959" y="1542065"/>
                </a:cubicBezTo>
                <a:cubicBezTo>
                  <a:pt x="582099" y="1535815"/>
                  <a:pt x="585168" y="1527666"/>
                  <a:pt x="585168" y="1517620"/>
                </a:cubicBezTo>
                <a:cubicBezTo>
                  <a:pt x="585168" y="1510923"/>
                  <a:pt x="584498" y="1500877"/>
                  <a:pt x="583159" y="1487483"/>
                </a:cubicBezTo>
                <a:cubicBezTo>
                  <a:pt x="581820" y="1474088"/>
                  <a:pt x="581150" y="1464042"/>
                  <a:pt x="581150" y="1457345"/>
                </a:cubicBezTo>
                <a:cubicBezTo>
                  <a:pt x="581150" y="1446853"/>
                  <a:pt x="581820" y="1436025"/>
                  <a:pt x="583159" y="1424863"/>
                </a:cubicBezTo>
                <a:cubicBezTo>
                  <a:pt x="584721" y="1411692"/>
                  <a:pt x="585726" y="1400753"/>
                  <a:pt x="586172" y="1392047"/>
                </a:cubicBezTo>
                <a:cubicBezTo>
                  <a:pt x="597781" y="1350747"/>
                  <a:pt x="613855" y="1316591"/>
                  <a:pt x="634393" y="1289579"/>
                </a:cubicBezTo>
                <a:cubicBezTo>
                  <a:pt x="657163" y="1259887"/>
                  <a:pt x="681051" y="1245042"/>
                  <a:pt x="706053" y="1245042"/>
                </a:cubicBezTo>
                <a:cubicBezTo>
                  <a:pt x="723913" y="1245042"/>
                  <a:pt x="732843" y="1269152"/>
                  <a:pt x="732843" y="1317372"/>
                </a:cubicBezTo>
                <a:cubicBezTo>
                  <a:pt x="732843" y="1323623"/>
                  <a:pt x="732452" y="1334227"/>
                  <a:pt x="731671" y="1349184"/>
                </a:cubicBezTo>
                <a:cubicBezTo>
                  <a:pt x="730889" y="1364141"/>
                  <a:pt x="730498" y="1374745"/>
                  <a:pt x="730498" y="1380996"/>
                </a:cubicBezTo>
                <a:cubicBezTo>
                  <a:pt x="730498" y="1403767"/>
                  <a:pt x="732061" y="1428212"/>
                  <a:pt x="735187" y="1454331"/>
                </a:cubicBezTo>
                <a:lnTo>
                  <a:pt x="744563" y="1527666"/>
                </a:lnTo>
                <a:cubicBezTo>
                  <a:pt x="747019" y="1548651"/>
                  <a:pt x="757846" y="1559143"/>
                  <a:pt x="777045" y="1559143"/>
                </a:cubicBezTo>
                <a:cubicBezTo>
                  <a:pt x="786644" y="1559143"/>
                  <a:pt x="794625" y="1556074"/>
                  <a:pt x="800987" y="1549935"/>
                </a:cubicBezTo>
                <a:cubicBezTo>
                  <a:pt x="807350" y="1543796"/>
                  <a:pt x="810531" y="1535815"/>
                  <a:pt x="810531" y="1525992"/>
                </a:cubicBezTo>
                <a:cubicBezTo>
                  <a:pt x="810531" y="1507686"/>
                  <a:pt x="808131" y="1483855"/>
                  <a:pt x="803331" y="1454499"/>
                </a:cubicBezTo>
                <a:cubicBezTo>
                  <a:pt x="798532" y="1425142"/>
                  <a:pt x="796132" y="1401200"/>
                  <a:pt x="796132" y="1382671"/>
                </a:cubicBezTo>
                <a:lnTo>
                  <a:pt x="796467" y="1351528"/>
                </a:lnTo>
                <a:lnTo>
                  <a:pt x="796467" y="1317707"/>
                </a:lnTo>
                <a:cubicBezTo>
                  <a:pt x="795574" y="1276630"/>
                  <a:pt x="790328" y="1245600"/>
                  <a:pt x="780728" y="1224615"/>
                </a:cubicBezTo>
                <a:cubicBezTo>
                  <a:pt x="766664" y="1193138"/>
                  <a:pt x="741773" y="1177399"/>
                  <a:pt x="706053" y="1177399"/>
                </a:cubicBezTo>
                <a:cubicBezTo>
                  <a:pt x="666540" y="1177399"/>
                  <a:pt x="628031" y="1202402"/>
                  <a:pt x="590526" y="1252409"/>
                </a:cubicBezTo>
                <a:lnTo>
                  <a:pt x="589521" y="1213230"/>
                </a:lnTo>
                <a:cubicBezTo>
                  <a:pt x="587512" y="1184208"/>
                  <a:pt x="576238" y="1169697"/>
                  <a:pt x="555700" y="1169697"/>
                </a:cubicBezTo>
                <a:close/>
                <a:moveTo>
                  <a:pt x="1173486" y="1001596"/>
                </a:moveTo>
                <a:cubicBezTo>
                  <a:pt x="1156073" y="1001596"/>
                  <a:pt x="1145915" y="1011530"/>
                  <a:pt x="1143013" y="1031399"/>
                </a:cubicBezTo>
                <a:cubicBezTo>
                  <a:pt x="1138771" y="1063992"/>
                  <a:pt x="1135088" y="1127281"/>
                  <a:pt x="1131962" y="1221266"/>
                </a:cubicBezTo>
                <a:lnTo>
                  <a:pt x="1100485" y="1198161"/>
                </a:lnTo>
                <a:cubicBezTo>
                  <a:pt x="1086421" y="1190124"/>
                  <a:pt x="1066441" y="1186106"/>
                  <a:pt x="1040545" y="1186106"/>
                </a:cubicBezTo>
                <a:cubicBezTo>
                  <a:pt x="990092" y="1186106"/>
                  <a:pt x="949071" y="1204077"/>
                  <a:pt x="917482" y="1240019"/>
                </a:cubicBezTo>
                <a:cubicBezTo>
                  <a:pt x="885894" y="1275961"/>
                  <a:pt x="870099" y="1323735"/>
                  <a:pt x="870099" y="1383340"/>
                </a:cubicBezTo>
                <a:cubicBezTo>
                  <a:pt x="870099" y="1432677"/>
                  <a:pt x="885726" y="1473084"/>
                  <a:pt x="916980" y="1504561"/>
                </a:cubicBezTo>
                <a:cubicBezTo>
                  <a:pt x="947341" y="1535368"/>
                  <a:pt x="985627" y="1550772"/>
                  <a:pt x="1031838" y="1550772"/>
                </a:cubicBezTo>
                <a:cubicBezTo>
                  <a:pt x="1050591" y="1550772"/>
                  <a:pt x="1068618" y="1547758"/>
                  <a:pt x="1085919" y="1541731"/>
                </a:cubicBezTo>
                <a:cubicBezTo>
                  <a:pt x="1103220" y="1535703"/>
                  <a:pt x="1119908" y="1526773"/>
                  <a:pt x="1135981" y="1514942"/>
                </a:cubicBezTo>
                <a:cubicBezTo>
                  <a:pt x="1142455" y="1535033"/>
                  <a:pt x="1152612" y="1545079"/>
                  <a:pt x="1166453" y="1545079"/>
                </a:cubicBezTo>
                <a:cubicBezTo>
                  <a:pt x="1174713" y="1545079"/>
                  <a:pt x="1181969" y="1542177"/>
                  <a:pt x="1188219" y="1536373"/>
                </a:cubicBezTo>
                <a:cubicBezTo>
                  <a:pt x="1194470" y="1530568"/>
                  <a:pt x="1197596" y="1523201"/>
                  <a:pt x="1197596" y="1514272"/>
                </a:cubicBezTo>
                <a:cubicBezTo>
                  <a:pt x="1197596" y="1512263"/>
                  <a:pt x="1197372" y="1509695"/>
                  <a:pt x="1196926" y="1506570"/>
                </a:cubicBezTo>
                <a:cubicBezTo>
                  <a:pt x="1190005" y="1468619"/>
                  <a:pt x="1186545" y="1412473"/>
                  <a:pt x="1186545" y="1338134"/>
                </a:cubicBezTo>
                <a:cubicBezTo>
                  <a:pt x="1186545" y="1305317"/>
                  <a:pt x="1187885" y="1272501"/>
                  <a:pt x="1190564" y="1239684"/>
                </a:cubicBezTo>
                <a:cubicBezTo>
                  <a:pt x="1199493" y="1133644"/>
                  <a:pt x="1203958" y="1065108"/>
                  <a:pt x="1203958" y="1034078"/>
                </a:cubicBezTo>
                <a:cubicBezTo>
                  <a:pt x="1203958" y="1012423"/>
                  <a:pt x="1193801" y="1001596"/>
                  <a:pt x="1173486" y="1001596"/>
                </a:cubicBezTo>
                <a:close/>
                <a:moveTo>
                  <a:pt x="1164072" y="659143"/>
                </a:moveTo>
                <a:cubicBezTo>
                  <a:pt x="1154473" y="659143"/>
                  <a:pt x="1146771" y="664500"/>
                  <a:pt x="1140967" y="675216"/>
                </a:cubicBezTo>
                <a:cubicBezTo>
                  <a:pt x="1134493" y="687048"/>
                  <a:pt x="1125228" y="706805"/>
                  <a:pt x="1113173" y="734487"/>
                </a:cubicBezTo>
                <a:cubicBezTo>
                  <a:pt x="1099332" y="766410"/>
                  <a:pt x="1092411" y="785609"/>
                  <a:pt x="1092411" y="792083"/>
                </a:cubicBezTo>
                <a:cubicBezTo>
                  <a:pt x="1092411" y="799897"/>
                  <a:pt x="1095314" y="806817"/>
                  <a:pt x="1101118" y="812845"/>
                </a:cubicBezTo>
                <a:cubicBezTo>
                  <a:pt x="1106922" y="818872"/>
                  <a:pt x="1113731" y="821886"/>
                  <a:pt x="1121545" y="821886"/>
                </a:cubicBezTo>
                <a:cubicBezTo>
                  <a:pt x="1132483" y="821886"/>
                  <a:pt x="1140520" y="815859"/>
                  <a:pt x="1145655" y="803804"/>
                </a:cubicBezTo>
                <a:cubicBezTo>
                  <a:pt x="1177355" y="732812"/>
                  <a:pt x="1193205" y="694638"/>
                  <a:pt x="1193205" y="689280"/>
                </a:cubicBezTo>
                <a:cubicBezTo>
                  <a:pt x="1193205" y="681467"/>
                  <a:pt x="1190359" y="674490"/>
                  <a:pt x="1184666" y="668351"/>
                </a:cubicBezTo>
                <a:cubicBezTo>
                  <a:pt x="1178974" y="662212"/>
                  <a:pt x="1172109" y="659143"/>
                  <a:pt x="1164072" y="659143"/>
                </a:cubicBezTo>
                <a:close/>
                <a:moveTo>
                  <a:pt x="4132970" y="427417"/>
                </a:moveTo>
                <a:cubicBezTo>
                  <a:pt x="4182753" y="427640"/>
                  <a:pt x="4206081" y="470949"/>
                  <a:pt x="4202956" y="557344"/>
                </a:cubicBezTo>
                <a:cubicBezTo>
                  <a:pt x="4201840" y="589268"/>
                  <a:pt x="4191794" y="614606"/>
                  <a:pt x="4172818" y="633358"/>
                </a:cubicBezTo>
                <a:cubicBezTo>
                  <a:pt x="4156075" y="650325"/>
                  <a:pt x="4136095" y="658808"/>
                  <a:pt x="4112878" y="658808"/>
                </a:cubicBezTo>
                <a:cubicBezTo>
                  <a:pt x="4093009" y="658808"/>
                  <a:pt x="4075708" y="651329"/>
                  <a:pt x="4060974" y="636372"/>
                </a:cubicBezTo>
                <a:cubicBezTo>
                  <a:pt x="4043338" y="618289"/>
                  <a:pt x="4034520" y="593063"/>
                  <a:pt x="4034520" y="560693"/>
                </a:cubicBezTo>
                <a:cubicBezTo>
                  <a:pt x="4034520" y="528323"/>
                  <a:pt x="4041775" y="499524"/>
                  <a:pt x="4056286" y="474298"/>
                </a:cubicBezTo>
                <a:cubicBezTo>
                  <a:pt x="4074592" y="442821"/>
                  <a:pt x="4100153" y="427194"/>
                  <a:pt x="4132970" y="427417"/>
                </a:cubicBezTo>
                <a:close/>
                <a:moveTo>
                  <a:pt x="3284277" y="416367"/>
                </a:moveTo>
                <a:cubicBezTo>
                  <a:pt x="3287849" y="416367"/>
                  <a:pt x="3292593" y="417371"/>
                  <a:pt x="3298509" y="419380"/>
                </a:cubicBezTo>
                <a:cubicBezTo>
                  <a:pt x="3304425" y="421390"/>
                  <a:pt x="3311513" y="424515"/>
                  <a:pt x="3319773" y="428757"/>
                </a:cubicBezTo>
                <a:cubicBezTo>
                  <a:pt x="3317317" y="441481"/>
                  <a:pt x="3315475" y="453481"/>
                  <a:pt x="3314248" y="464754"/>
                </a:cubicBezTo>
                <a:cubicBezTo>
                  <a:pt x="3313020" y="476028"/>
                  <a:pt x="3312406" y="486465"/>
                  <a:pt x="3312406" y="496064"/>
                </a:cubicBezTo>
                <a:cubicBezTo>
                  <a:pt x="3312406" y="525532"/>
                  <a:pt x="3315978" y="569846"/>
                  <a:pt x="3323121" y="629005"/>
                </a:cubicBezTo>
                <a:cubicBezTo>
                  <a:pt x="3308611" y="641730"/>
                  <a:pt x="3297337" y="650213"/>
                  <a:pt x="3289300" y="654454"/>
                </a:cubicBezTo>
                <a:cubicBezTo>
                  <a:pt x="3274343" y="662268"/>
                  <a:pt x="3256149" y="666175"/>
                  <a:pt x="3234718" y="666175"/>
                </a:cubicBezTo>
                <a:cubicBezTo>
                  <a:pt x="3208821" y="666175"/>
                  <a:pt x="3189399" y="657022"/>
                  <a:pt x="3176451" y="638716"/>
                </a:cubicBezTo>
                <a:cubicBezTo>
                  <a:pt x="3163503" y="620410"/>
                  <a:pt x="3157029" y="592951"/>
                  <a:pt x="3157029" y="556340"/>
                </a:cubicBezTo>
                <a:cubicBezTo>
                  <a:pt x="3157029" y="519505"/>
                  <a:pt x="3169587" y="486967"/>
                  <a:pt x="3194701" y="458727"/>
                </a:cubicBezTo>
                <a:cubicBezTo>
                  <a:pt x="3219816" y="430487"/>
                  <a:pt x="3249675" y="416367"/>
                  <a:pt x="3284277" y="416367"/>
                </a:cubicBezTo>
                <a:close/>
                <a:moveTo>
                  <a:pt x="935063" y="363793"/>
                </a:moveTo>
                <a:cubicBezTo>
                  <a:pt x="925464" y="363793"/>
                  <a:pt x="917594" y="366919"/>
                  <a:pt x="911455" y="373169"/>
                </a:cubicBezTo>
                <a:cubicBezTo>
                  <a:pt x="905316" y="379420"/>
                  <a:pt x="902246" y="387568"/>
                  <a:pt x="902246" y="397614"/>
                </a:cubicBezTo>
                <a:cubicBezTo>
                  <a:pt x="902246" y="418599"/>
                  <a:pt x="901130" y="444774"/>
                  <a:pt x="898897" y="476140"/>
                </a:cubicBezTo>
                <a:cubicBezTo>
                  <a:pt x="896665" y="507505"/>
                  <a:pt x="895549" y="533680"/>
                  <a:pt x="895549" y="554665"/>
                </a:cubicBezTo>
                <a:cubicBezTo>
                  <a:pt x="895549" y="568060"/>
                  <a:pt x="895940" y="588096"/>
                  <a:pt x="896721" y="614773"/>
                </a:cubicBezTo>
                <a:cubicBezTo>
                  <a:pt x="897502" y="641451"/>
                  <a:pt x="897893" y="661487"/>
                  <a:pt x="897893" y="674881"/>
                </a:cubicBezTo>
                <a:cubicBezTo>
                  <a:pt x="897893" y="684704"/>
                  <a:pt x="900963" y="692741"/>
                  <a:pt x="907102" y="698991"/>
                </a:cubicBezTo>
                <a:cubicBezTo>
                  <a:pt x="913241" y="705242"/>
                  <a:pt x="921110" y="708367"/>
                  <a:pt x="930710" y="708367"/>
                </a:cubicBezTo>
                <a:cubicBezTo>
                  <a:pt x="940532" y="708367"/>
                  <a:pt x="948457" y="705242"/>
                  <a:pt x="954485" y="698991"/>
                </a:cubicBezTo>
                <a:cubicBezTo>
                  <a:pt x="960513" y="692741"/>
                  <a:pt x="963526" y="684704"/>
                  <a:pt x="963526" y="674881"/>
                </a:cubicBezTo>
                <a:cubicBezTo>
                  <a:pt x="963526" y="661487"/>
                  <a:pt x="963136" y="641451"/>
                  <a:pt x="962354" y="614773"/>
                </a:cubicBezTo>
                <a:cubicBezTo>
                  <a:pt x="961573" y="588096"/>
                  <a:pt x="961182" y="568060"/>
                  <a:pt x="961182" y="554665"/>
                </a:cubicBezTo>
                <a:cubicBezTo>
                  <a:pt x="961182" y="533680"/>
                  <a:pt x="962298" y="507505"/>
                  <a:pt x="964531" y="476140"/>
                </a:cubicBezTo>
                <a:cubicBezTo>
                  <a:pt x="966763" y="444774"/>
                  <a:pt x="967879" y="418599"/>
                  <a:pt x="967879" y="397614"/>
                </a:cubicBezTo>
                <a:cubicBezTo>
                  <a:pt x="967879" y="387568"/>
                  <a:pt x="964810" y="379420"/>
                  <a:pt x="958671" y="373169"/>
                </a:cubicBezTo>
                <a:cubicBezTo>
                  <a:pt x="952532" y="366919"/>
                  <a:pt x="944662" y="363793"/>
                  <a:pt x="935063" y="363793"/>
                </a:cubicBezTo>
                <a:close/>
                <a:moveTo>
                  <a:pt x="744563" y="363793"/>
                </a:moveTo>
                <a:cubicBezTo>
                  <a:pt x="734963" y="363793"/>
                  <a:pt x="727094" y="366919"/>
                  <a:pt x="720955" y="373169"/>
                </a:cubicBezTo>
                <a:cubicBezTo>
                  <a:pt x="714816" y="379420"/>
                  <a:pt x="711746" y="387568"/>
                  <a:pt x="711746" y="397614"/>
                </a:cubicBezTo>
                <a:cubicBezTo>
                  <a:pt x="711746" y="418599"/>
                  <a:pt x="710630" y="444774"/>
                  <a:pt x="708398" y="476140"/>
                </a:cubicBezTo>
                <a:cubicBezTo>
                  <a:pt x="706165" y="507505"/>
                  <a:pt x="705049" y="533680"/>
                  <a:pt x="705049" y="554665"/>
                </a:cubicBezTo>
                <a:cubicBezTo>
                  <a:pt x="705049" y="568060"/>
                  <a:pt x="705440" y="588096"/>
                  <a:pt x="706221" y="614773"/>
                </a:cubicBezTo>
                <a:cubicBezTo>
                  <a:pt x="707003" y="641451"/>
                  <a:pt x="707393" y="661487"/>
                  <a:pt x="707393" y="674881"/>
                </a:cubicBezTo>
                <a:cubicBezTo>
                  <a:pt x="707393" y="684704"/>
                  <a:pt x="710462" y="692741"/>
                  <a:pt x="716602" y="698991"/>
                </a:cubicBezTo>
                <a:cubicBezTo>
                  <a:pt x="722741" y="705242"/>
                  <a:pt x="730610" y="708367"/>
                  <a:pt x="740210" y="708367"/>
                </a:cubicBezTo>
                <a:cubicBezTo>
                  <a:pt x="750032" y="708367"/>
                  <a:pt x="757957" y="705242"/>
                  <a:pt x="763985" y="698991"/>
                </a:cubicBezTo>
                <a:cubicBezTo>
                  <a:pt x="770012" y="692741"/>
                  <a:pt x="773026" y="684704"/>
                  <a:pt x="773026" y="674881"/>
                </a:cubicBezTo>
                <a:cubicBezTo>
                  <a:pt x="773026" y="661487"/>
                  <a:pt x="772636" y="641451"/>
                  <a:pt x="771854" y="614773"/>
                </a:cubicBezTo>
                <a:cubicBezTo>
                  <a:pt x="771073" y="588096"/>
                  <a:pt x="770682" y="568060"/>
                  <a:pt x="770682" y="554665"/>
                </a:cubicBezTo>
                <a:cubicBezTo>
                  <a:pt x="770682" y="533680"/>
                  <a:pt x="771799" y="507505"/>
                  <a:pt x="774031" y="476140"/>
                </a:cubicBezTo>
                <a:cubicBezTo>
                  <a:pt x="776263" y="444774"/>
                  <a:pt x="777379" y="418599"/>
                  <a:pt x="777379" y="397614"/>
                </a:cubicBezTo>
                <a:cubicBezTo>
                  <a:pt x="777379" y="387568"/>
                  <a:pt x="774310" y="379420"/>
                  <a:pt x="768171" y="373169"/>
                </a:cubicBezTo>
                <a:cubicBezTo>
                  <a:pt x="762032" y="366919"/>
                  <a:pt x="754162" y="363793"/>
                  <a:pt x="744563" y="363793"/>
                </a:cubicBezTo>
                <a:close/>
                <a:moveTo>
                  <a:pt x="4137323" y="359440"/>
                </a:moveTo>
                <a:cubicBezTo>
                  <a:pt x="4081512" y="359440"/>
                  <a:pt x="4037980" y="382099"/>
                  <a:pt x="4006726" y="427417"/>
                </a:cubicBezTo>
                <a:cubicBezTo>
                  <a:pt x="3979937" y="465815"/>
                  <a:pt x="3967212" y="510240"/>
                  <a:pt x="3968552" y="560693"/>
                </a:cubicBezTo>
                <a:cubicBezTo>
                  <a:pt x="3970114" y="612708"/>
                  <a:pt x="3985965" y="654120"/>
                  <a:pt x="4016102" y="684927"/>
                </a:cubicBezTo>
                <a:cubicBezTo>
                  <a:pt x="4043115" y="712609"/>
                  <a:pt x="4075373" y="726450"/>
                  <a:pt x="4112878" y="726450"/>
                </a:cubicBezTo>
                <a:cubicBezTo>
                  <a:pt x="4159982" y="726450"/>
                  <a:pt x="4197822" y="706582"/>
                  <a:pt x="4226397" y="666844"/>
                </a:cubicBezTo>
                <a:cubicBezTo>
                  <a:pt x="4251623" y="631795"/>
                  <a:pt x="4264571" y="589491"/>
                  <a:pt x="4265241" y="539931"/>
                </a:cubicBezTo>
                <a:cubicBezTo>
                  <a:pt x="4265910" y="493497"/>
                  <a:pt x="4257092" y="453760"/>
                  <a:pt x="4238786" y="420720"/>
                </a:cubicBezTo>
                <a:cubicBezTo>
                  <a:pt x="4215793" y="379867"/>
                  <a:pt x="4181971" y="359440"/>
                  <a:pt x="4137323" y="359440"/>
                </a:cubicBezTo>
                <a:close/>
                <a:moveTo>
                  <a:pt x="3279924" y="357096"/>
                </a:moveTo>
                <a:cubicBezTo>
                  <a:pt x="3228355" y="357096"/>
                  <a:pt x="3183986" y="376295"/>
                  <a:pt x="3146816" y="414692"/>
                </a:cubicBezTo>
                <a:cubicBezTo>
                  <a:pt x="3109646" y="453090"/>
                  <a:pt x="3091061" y="499301"/>
                  <a:pt x="3091061" y="553326"/>
                </a:cubicBezTo>
                <a:cubicBezTo>
                  <a:pt x="3091061" y="610476"/>
                  <a:pt x="3102335" y="652892"/>
                  <a:pt x="3124882" y="680574"/>
                </a:cubicBezTo>
                <a:cubicBezTo>
                  <a:pt x="3148769" y="710042"/>
                  <a:pt x="3186832" y="724776"/>
                  <a:pt x="3239071" y="724776"/>
                </a:cubicBezTo>
                <a:cubicBezTo>
                  <a:pt x="3250010" y="724776"/>
                  <a:pt x="3263627" y="721818"/>
                  <a:pt x="3279924" y="715902"/>
                </a:cubicBezTo>
                <a:cubicBezTo>
                  <a:pt x="3296221" y="709986"/>
                  <a:pt x="3315085" y="701224"/>
                  <a:pt x="3336516" y="689615"/>
                </a:cubicBezTo>
                <a:cubicBezTo>
                  <a:pt x="3341427" y="696759"/>
                  <a:pt x="3348906" y="704907"/>
                  <a:pt x="3358952" y="714060"/>
                </a:cubicBezTo>
                <a:cubicBezTo>
                  <a:pt x="3370114" y="723883"/>
                  <a:pt x="3377816" y="728794"/>
                  <a:pt x="3382057" y="728794"/>
                </a:cubicBezTo>
                <a:cubicBezTo>
                  <a:pt x="3390317" y="728794"/>
                  <a:pt x="3397573" y="725892"/>
                  <a:pt x="3403823" y="720088"/>
                </a:cubicBezTo>
                <a:cubicBezTo>
                  <a:pt x="3410074" y="714283"/>
                  <a:pt x="3413200" y="706916"/>
                  <a:pt x="3413200" y="697987"/>
                </a:cubicBezTo>
                <a:lnTo>
                  <a:pt x="3411190" y="692294"/>
                </a:lnTo>
                <a:cubicBezTo>
                  <a:pt x="3407619" y="684481"/>
                  <a:pt x="3405051" y="678565"/>
                  <a:pt x="3403489" y="674546"/>
                </a:cubicBezTo>
                <a:cubicBezTo>
                  <a:pt x="3391657" y="645078"/>
                  <a:pt x="3384625" y="625433"/>
                  <a:pt x="3382392" y="615610"/>
                </a:cubicBezTo>
                <a:cubicBezTo>
                  <a:pt x="3378374" y="599537"/>
                  <a:pt x="3376476" y="577659"/>
                  <a:pt x="3376700" y="549977"/>
                </a:cubicBezTo>
                <a:cubicBezTo>
                  <a:pt x="3376923" y="519616"/>
                  <a:pt x="3377648" y="494725"/>
                  <a:pt x="3378876" y="475303"/>
                </a:cubicBezTo>
                <a:cubicBezTo>
                  <a:pt x="3380104" y="455881"/>
                  <a:pt x="3381834" y="441928"/>
                  <a:pt x="3384067" y="433445"/>
                </a:cubicBezTo>
                <a:cubicBezTo>
                  <a:pt x="3388531" y="428757"/>
                  <a:pt x="3390764" y="423399"/>
                  <a:pt x="3390764" y="417371"/>
                </a:cubicBezTo>
                <a:cubicBezTo>
                  <a:pt x="3390764" y="399735"/>
                  <a:pt x="3375583" y="384666"/>
                  <a:pt x="3345222" y="372165"/>
                </a:cubicBezTo>
                <a:cubicBezTo>
                  <a:pt x="3321112" y="362119"/>
                  <a:pt x="3299346" y="357096"/>
                  <a:pt x="3279924" y="357096"/>
                </a:cubicBezTo>
                <a:close/>
                <a:moveTo>
                  <a:pt x="3679900" y="353747"/>
                </a:moveTo>
                <a:cubicBezTo>
                  <a:pt x="3627661" y="353747"/>
                  <a:pt x="3580110" y="374397"/>
                  <a:pt x="3537248" y="415697"/>
                </a:cubicBezTo>
                <a:cubicBezTo>
                  <a:pt x="3537025" y="378639"/>
                  <a:pt x="3525974" y="360110"/>
                  <a:pt x="3504096" y="360110"/>
                </a:cubicBezTo>
                <a:cubicBezTo>
                  <a:pt x="3484451" y="360110"/>
                  <a:pt x="3474628" y="371383"/>
                  <a:pt x="3474628" y="393931"/>
                </a:cubicBezTo>
                <a:cubicBezTo>
                  <a:pt x="3474628" y="401298"/>
                  <a:pt x="3474349" y="412348"/>
                  <a:pt x="3473791" y="427082"/>
                </a:cubicBezTo>
                <a:cubicBezTo>
                  <a:pt x="3473233" y="441816"/>
                  <a:pt x="3472954" y="452867"/>
                  <a:pt x="3472954" y="460234"/>
                </a:cubicBezTo>
                <a:lnTo>
                  <a:pt x="3472954" y="695308"/>
                </a:lnTo>
                <a:cubicBezTo>
                  <a:pt x="3472954" y="717855"/>
                  <a:pt x="3482777" y="729129"/>
                  <a:pt x="3502422" y="729129"/>
                </a:cubicBezTo>
                <a:cubicBezTo>
                  <a:pt x="3524523" y="729129"/>
                  <a:pt x="3535574" y="717855"/>
                  <a:pt x="3535574" y="695308"/>
                </a:cubicBezTo>
                <a:lnTo>
                  <a:pt x="3534904" y="511803"/>
                </a:lnTo>
                <a:cubicBezTo>
                  <a:pt x="3548075" y="482558"/>
                  <a:pt x="3564595" y="460680"/>
                  <a:pt x="3584464" y="446170"/>
                </a:cubicBezTo>
                <a:cubicBezTo>
                  <a:pt x="3605672" y="430543"/>
                  <a:pt x="3633912" y="420608"/>
                  <a:pt x="3669184" y="416367"/>
                </a:cubicBezTo>
                <a:lnTo>
                  <a:pt x="3670189" y="444495"/>
                </a:lnTo>
                <a:cubicBezTo>
                  <a:pt x="3670858" y="455881"/>
                  <a:pt x="3671193" y="463694"/>
                  <a:pt x="3671193" y="467936"/>
                </a:cubicBezTo>
                <a:cubicBezTo>
                  <a:pt x="3671193" y="490037"/>
                  <a:pt x="3680793" y="501087"/>
                  <a:pt x="3699991" y="501087"/>
                </a:cubicBezTo>
                <a:cubicBezTo>
                  <a:pt x="3720753" y="501087"/>
                  <a:pt x="3731915" y="487134"/>
                  <a:pt x="3733478" y="459229"/>
                </a:cubicBezTo>
                <a:cubicBezTo>
                  <a:pt x="3733701" y="455211"/>
                  <a:pt x="3733813" y="447397"/>
                  <a:pt x="3733813" y="435789"/>
                </a:cubicBezTo>
                <a:cubicBezTo>
                  <a:pt x="3733813" y="408330"/>
                  <a:pt x="3729348" y="387792"/>
                  <a:pt x="3720418" y="374174"/>
                </a:cubicBezTo>
                <a:cubicBezTo>
                  <a:pt x="3711488" y="360556"/>
                  <a:pt x="3697982" y="353747"/>
                  <a:pt x="3679900" y="353747"/>
                </a:cubicBezTo>
                <a:close/>
                <a:moveTo>
                  <a:pt x="1997137" y="334995"/>
                </a:moveTo>
                <a:cubicBezTo>
                  <a:pt x="1974367" y="334995"/>
                  <a:pt x="1962981" y="360333"/>
                  <a:pt x="1962981" y="411009"/>
                </a:cubicBezTo>
                <a:cubicBezTo>
                  <a:pt x="1962981" y="423064"/>
                  <a:pt x="1964042" y="440923"/>
                  <a:pt x="1966163" y="464587"/>
                </a:cubicBezTo>
                <a:cubicBezTo>
                  <a:pt x="1968283" y="488251"/>
                  <a:pt x="1969344" y="505998"/>
                  <a:pt x="1969344" y="517830"/>
                </a:cubicBezTo>
                <a:cubicBezTo>
                  <a:pt x="1969344" y="531225"/>
                  <a:pt x="1968116" y="551205"/>
                  <a:pt x="1965660" y="577771"/>
                </a:cubicBezTo>
                <a:cubicBezTo>
                  <a:pt x="1963205" y="604337"/>
                  <a:pt x="1961977" y="624317"/>
                  <a:pt x="1961977" y="637711"/>
                </a:cubicBezTo>
                <a:cubicBezTo>
                  <a:pt x="1961977" y="695085"/>
                  <a:pt x="1974590" y="723771"/>
                  <a:pt x="1999816" y="723771"/>
                </a:cubicBezTo>
                <a:cubicBezTo>
                  <a:pt x="2008969" y="723771"/>
                  <a:pt x="2016950" y="720646"/>
                  <a:pt x="2023759" y="714395"/>
                </a:cubicBezTo>
                <a:cubicBezTo>
                  <a:pt x="2030568" y="708144"/>
                  <a:pt x="2033972" y="700442"/>
                  <a:pt x="2033972" y="691289"/>
                </a:cubicBezTo>
                <a:cubicBezTo>
                  <a:pt x="2033972" y="685932"/>
                  <a:pt x="2032912" y="677225"/>
                  <a:pt x="2030791" y="665170"/>
                </a:cubicBezTo>
                <a:cubicBezTo>
                  <a:pt x="2028670" y="653115"/>
                  <a:pt x="2027610" y="643739"/>
                  <a:pt x="2027610" y="637042"/>
                </a:cubicBezTo>
                <a:cubicBezTo>
                  <a:pt x="2027610" y="624540"/>
                  <a:pt x="2028838" y="605230"/>
                  <a:pt x="2031293" y="579110"/>
                </a:cubicBezTo>
                <a:cubicBezTo>
                  <a:pt x="2033749" y="552991"/>
                  <a:pt x="2034977" y="533234"/>
                  <a:pt x="2034977" y="519839"/>
                </a:cubicBezTo>
                <a:cubicBezTo>
                  <a:pt x="2042790" y="511133"/>
                  <a:pt x="2048483" y="504101"/>
                  <a:pt x="2052055" y="498743"/>
                </a:cubicBezTo>
                <a:lnTo>
                  <a:pt x="2091569" y="454541"/>
                </a:lnTo>
                <a:cubicBezTo>
                  <a:pt x="2107642" y="438468"/>
                  <a:pt x="2123493" y="426859"/>
                  <a:pt x="2139119" y="419715"/>
                </a:cubicBezTo>
                <a:cubicBezTo>
                  <a:pt x="2145817" y="432887"/>
                  <a:pt x="2149165" y="451304"/>
                  <a:pt x="2149165" y="474968"/>
                </a:cubicBezTo>
                <a:cubicBezTo>
                  <a:pt x="2149165" y="501980"/>
                  <a:pt x="2151900" y="541885"/>
                  <a:pt x="2157370" y="594681"/>
                </a:cubicBezTo>
                <a:cubicBezTo>
                  <a:pt x="2162839" y="647478"/>
                  <a:pt x="2165574" y="687383"/>
                  <a:pt x="2165574" y="714395"/>
                </a:cubicBezTo>
                <a:cubicBezTo>
                  <a:pt x="2165574" y="724218"/>
                  <a:pt x="2168643" y="732310"/>
                  <a:pt x="2174782" y="738673"/>
                </a:cubicBezTo>
                <a:cubicBezTo>
                  <a:pt x="2180921" y="745035"/>
                  <a:pt x="2188791" y="748216"/>
                  <a:pt x="2198390" y="748216"/>
                </a:cubicBezTo>
                <a:cubicBezTo>
                  <a:pt x="2207990" y="748216"/>
                  <a:pt x="2215859" y="745035"/>
                  <a:pt x="2221998" y="738673"/>
                </a:cubicBezTo>
                <a:cubicBezTo>
                  <a:pt x="2228137" y="732310"/>
                  <a:pt x="2231207" y="724218"/>
                  <a:pt x="2231207" y="714395"/>
                </a:cubicBezTo>
                <a:cubicBezTo>
                  <a:pt x="2231207" y="691401"/>
                  <a:pt x="2229086" y="662268"/>
                  <a:pt x="2224844" y="626996"/>
                </a:cubicBezTo>
                <a:lnTo>
                  <a:pt x="2214799" y="537587"/>
                </a:lnTo>
                <a:cubicBezTo>
                  <a:pt x="2213459" y="516602"/>
                  <a:pt x="2212901" y="495618"/>
                  <a:pt x="2213124" y="474633"/>
                </a:cubicBezTo>
                <a:cubicBezTo>
                  <a:pt x="2219821" y="466819"/>
                  <a:pt x="2233886" y="456439"/>
                  <a:pt x="2255317" y="443491"/>
                </a:cubicBezTo>
                <a:cubicBezTo>
                  <a:pt x="2277864" y="429426"/>
                  <a:pt x="2293268" y="422394"/>
                  <a:pt x="2301528" y="422394"/>
                </a:cubicBezTo>
                <a:cubicBezTo>
                  <a:pt x="2310458" y="422394"/>
                  <a:pt x="2318718" y="432440"/>
                  <a:pt x="2326308" y="452532"/>
                </a:cubicBezTo>
                <a:cubicBezTo>
                  <a:pt x="2331666" y="467266"/>
                  <a:pt x="2335461" y="482335"/>
                  <a:pt x="2337693" y="497738"/>
                </a:cubicBezTo>
                <a:lnTo>
                  <a:pt x="2349079" y="601546"/>
                </a:lnTo>
                <a:cubicBezTo>
                  <a:pt x="2353097" y="646195"/>
                  <a:pt x="2357115" y="680797"/>
                  <a:pt x="2361134" y="705354"/>
                </a:cubicBezTo>
                <a:cubicBezTo>
                  <a:pt x="2364259" y="724776"/>
                  <a:pt x="2374975" y="734487"/>
                  <a:pt x="2393280" y="734487"/>
                </a:cubicBezTo>
                <a:cubicBezTo>
                  <a:pt x="2402880" y="734487"/>
                  <a:pt x="2411028" y="731361"/>
                  <a:pt x="2417726" y="725111"/>
                </a:cubicBezTo>
                <a:cubicBezTo>
                  <a:pt x="2424423" y="718860"/>
                  <a:pt x="2427437" y="711270"/>
                  <a:pt x="2426767" y="702340"/>
                </a:cubicBezTo>
                <a:cubicBezTo>
                  <a:pt x="2416944" y="612820"/>
                  <a:pt x="2408907" y="548861"/>
                  <a:pt x="2402657" y="510463"/>
                </a:cubicBezTo>
                <a:cubicBezTo>
                  <a:pt x="2396183" y="455769"/>
                  <a:pt x="2391606" y="424403"/>
                  <a:pt x="2388927" y="416367"/>
                </a:cubicBezTo>
                <a:cubicBezTo>
                  <a:pt x="2375309" y="376183"/>
                  <a:pt x="2349860" y="356091"/>
                  <a:pt x="2312579" y="356091"/>
                </a:cubicBezTo>
                <a:cubicBezTo>
                  <a:pt x="2290701" y="356091"/>
                  <a:pt x="2271279" y="360165"/>
                  <a:pt x="2254312" y="368314"/>
                </a:cubicBezTo>
                <a:cubicBezTo>
                  <a:pt x="2237346" y="376462"/>
                  <a:pt x="2222723" y="388685"/>
                  <a:pt x="2210445" y="404981"/>
                </a:cubicBezTo>
                <a:cubicBezTo>
                  <a:pt x="2197274" y="370156"/>
                  <a:pt x="2173164" y="352743"/>
                  <a:pt x="2138115" y="352743"/>
                </a:cubicBezTo>
                <a:cubicBezTo>
                  <a:pt x="2122265" y="352743"/>
                  <a:pt x="2103066" y="362398"/>
                  <a:pt x="2080518" y="381708"/>
                </a:cubicBezTo>
                <a:cubicBezTo>
                  <a:pt x="2057971" y="401019"/>
                  <a:pt x="2040893" y="422617"/>
                  <a:pt x="2029284" y="446504"/>
                </a:cubicBezTo>
                <a:lnTo>
                  <a:pt x="2028615" y="411344"/>
                </a:lnTo>
                <a:cubicBezTo>
                  <a:pt x="2028615" y="406656"/>
                  <a:pt x="2029173" y="399847"/>
                  <a:pt x="2030289" y="390917"/>
                </a:cubicBezTo>
                <a:cubicBezTo>
                  <a:pt x="2031405" y="381987"/>
                  <a:pt x="2031963" y="375402"/>
                  <a:pt x="2031963" y="371160"/>
                </a:cubicBezTo>
                <a:cubicBezTo>
                  <a:pt x="2031963" y="362230"/>
                  <a:pt x="2028335" y="353970"/>
                  <a:pt x="2021080" y="346380"/>
                </a:cubicBezTo>
                <a:cubicBezTo>
                  <a:pt x="2013825" y="338790"/>
                  <a:pt x="2005844" y="334995"/>
                  <a:pt x="1997137" y="334995"/>
                </a:cubicBezTo>
                <a:close/>
                <a:moveTo>
                  <a:pt x="4566915" y="324279"/>
                </a:moveTo>
                <a:cubicBezTo>
                  <a:pt x="4556200" y="324279"/>
                  <a:pt x="4546265" y="326288"/>
                  <a:pt x="4537113" y="330307"/>
                </a:cubicBezTo>
                <a:cubicBezTo>
                  <a:pt x="4524388" y="336111"/>
                  <a:pt x="4503291" y="343199"/>
                  <a:pt x="4473823" y="351571"/>
                </a:cubicBezTo>
                <a:cubicBezTo>
                  <a:pt x="4444355" y="359942"/>
                  <a:pt x="4422924" y="367142"/>
                  <a:pt x="4409530" y="373169"/>
                </a:cubicBezTo>
                <a:cubicBezTo>
                  <a:pt x="4365551" y="393038"/>
                  <a:pt x="4343562" y="426301"/>
                  <a:pt x="4343562" y="472959"/>
                </a:cubicBezTo>
                <a:cubicBezTo>
                  <a:pt x="4343562" y="498185"/>
                  <a:pt x="4352603" y="517049"/>
                  <a:pt x="4370685" y="529550"/>
                </a:cubicBezTo>
                <a:cubicBezTo>
                  <a:pt x="4383187" y="538257"/>
                  <a:pt x="4404283" y="545847"/>
                  <a:pt x="4433975" y="552321"/>
                </a:cubicBezTo>
                <a:lnTo>
                  <a:pt x="4468800" y="560023"/>
                </a:lnTo>
                <a:cubicBezTo>
                  <a:pt x="4511216" y="570739"/>
                  <a:pt x="4532424" y="591277"/>
                  <a:pt x="4532424" y="621638"/>
                </a:cubicBezTo>
                <a:cubicBezTo>
                  <a:pt x="4532424" y="635702"/>
                  <a:pt x="4522044" y="645971"/>
                  <a:pt x="4501282" y="652445"/>
                </a:cubicBezTo>
                <a:cubicBezTo>
                  <a:pt x="4486995" y="656910"/>
                  <a:pt x="4470475" y="659143"/>
                  <a:pt x="4451722" y="659143"/>
                </a:cubicBezTo>
                <a:cubicBezTo>
                  <a:pt x="4441453" y="659143"/>
                  <a:pt x="4428840" y="657803"/>
                  <a:pt x="4413883" y="655124"/>
                </a:cubicBezTo>
                <a:cubicBezTo>
                  <a:pt x="4395131" y="651776"/>
                  <a:pt x="4383075" y="647534"/>
                  <a:pt x="4377718" y="642399"/>
                </a:cubicBezTo>
                <a:cubicBezTo>
                  <a:pt x="4366779" y="631684"/>
                  <a:pt x="4357849" y="626326"/>
                  <a:pt x="4350929" y="626326"/>
                </a:cubicBezTo>
                <a:cubicBezTo>
                  <a:pt x="4341999" y="626326"/>
                  <a:pt x="4334018" y="629675"/>
                  <a:pt x="4326986" y="636372"/>
                </a:cubicBezTo>
                <a:cubicBezTo>
                  <a:pt x="4319954" y="643069"/>
                  <a:pt x="4316438" y="650883"/>
                  <a:pt x="4316438" y="659812"/>
                </a:cubicBezTo>
                <a:cubicBezTo>
                  <a:pt x="4316438" y="682137"/>
                  <a:pt x="4333627" y="699549"/>
                  <a:pt x="4368007" y="712051"/>
                </a:cubicBezTo>
                <a:cubicBezTo>
                  <a:pt x="4394572" y="721874"/>
                  <a:pt x="4422478" y="726785"/>
                  <a:pt x="4451722" y="726785"/>
                </a:cubicBezTo>
                <a:cubicBezTo>
                  <a:pt x="4491683" y="726785"/>
                  <a:pt x="4524723" y="719195"/>
                  <a:pt x="4550842" y="704014"/>
                </a:cubicBezTo>
                <a:cubicBezTo>
                  <a:pt x="4582319" y="685485"/>
                  <a:pt x="4598058" y="658026"/>
                  <a:pt x="4598058" y="621638"/>
                </a:cubicBezTo>
                <a:cubicBezTo>
                  <a:pt x="4598058" y="577213"/>
                  <a:pt x="4579864" y="543280"/>
                  <a:pt x="4543475" y="519839"/>
                </a:cubicBezTo>
                <a:cubicBezTo>
                  <a:pt x="4518472" y="503766"/>
                  <a:pt x="4480297" y="491153"/>
                  <a:pt x="4428952" y="482000"/>
                </a:cubicBezTo>
                <a:cubicBezTo>
                  <a:pt x="4422478" y="480884"/>
                  <a:pt x="4415892" y="479098"/>
                  <a:pt x="4409195" y="476642"/>
                </a:cubicBezTo>
                <a:cubicBezTo>
                  <a:pt x="4409418" y="455657"/>
                  <a:pt x="4427501" y="438021"/>
                  <a:pt x="4463443" y="423734"/>
                </a:cubicBezTo>
                <a:cubicBezTo>
                  <a:pt x="4498268" y="412348"/>
                  <a:pt x="4524053" y="404535"/>
                  <a:pt x="4540796" y="400293"/>
                </a:cubicBezTo>
                <a:cubicBezTo>
                  <a:pt x="4543252" y="418599"/>
                  <a:pt x="4546154" y="430654"/>
                  <a:pt x="4549502" y="436458"/>
                </a:cubicBezTo>
                <a:cubicBezTo>
                  <a:pt x="4554414" y="444718"/>
                  <a:pt x="4563009" y="448848"/>
                  <a:pt x="4575287" y="448848"/>
                </a:cubicBezTo>
                <a:cubicBezTo>
                  <a:pt x="4584886" y="448848"/>
                  <a:pt x="4592756" y="445723"/>
                  <a:pt x="4598895" y="439472"/>
                </a:cubicBezTo>
                <a:cubicBezTo>
                  <a:pt x="4605034" y="433221"/>
                  <a:pt x="4608104" y="425073"/>
                  <a:pt x="4608104" y="415027"/>
                </a:cubicBezTo>
                <a:cubicBezTo>
                  <a:pt x="4608104" y="408553"/>
                  <a:pt x="4606708" y="399065"/>
                  <a:pt x="4603918" y="386564"/>
                </a:cubicBezTo>
                <a:cubicBezTo>
                  <a:pt x="4601127" y="374062"/>
                  <a:pt x="4599732" y="364574"/>
                  <a:pt x="4599732" y="358100"/>
                </a:cubicBezTo>
                <a:cubicBezTo>
                  <a:pt x="4599732" y="348055"/>
                  <a:pt x="4596662" y="339906"/>
                  <a:pt x="4590523" y="333655"/>
                </a:cubicBezTo>
                <a:cubicBezTo>
                  <a:pt x="4584384" y="327405"/>
                  <a:pt x="4576515" y="324279"/>
                  <a:pt x="4566915" y="324279"/>
                </a:cubicBezTo>
                <a:close/>
                <a:moveTo>
                  <a:pt x="1584214" y="206407"/>
                </a:moveTo>
                <a:cubicBezTo>
                  <a:pt x="1534654" y="206407"/>
                  <a:pt x="1500833" y="207300"/>
                  <a:pt x="1482750" y="209086"/>
                </a:cubicBezTo>
                <a:cubicBezTo>
                  <a:pt x="1461766" y="211095"/>
                  <a:pt x="1451273" y="222481"/>
                  <a:pt x="1451273" y="243242"/>
                </a:cubicBezTo>
                <a:cubicBezTo>
                  <a:pt x="1451273" y="253288"/>
                  <a:pt x="1454510" y="261548"/>
                  <a:pt x="1460984" y="268022"/>
                </a:cubicBezTo>
                <a:cubicBezTo>
                  <a:pt x="1467458" y="274496"/>
                  <a:pt x="1475495" y="277733"/>
                  <a:pt x="1485094" y="277733"/>
                </a:cubicBezTo>
                <a:lnTo>
                  <a:pt x="1528627" y="276729"/>
                </a:lnTo>
                <a:lnTo>
                  <a:pt x="1572159" y="275389"/>
                </a:lnTo>
                <a:cubicBezTo>
                  <a:pt x="1565908" y="352631"/>
                  <a:pt x="1562783" y="417036"/>
                  <a:pt x="1562783" y="468605"/>
                </a:cubicBezTo>
                <a:cubicBezTo>
                  <a:pt x="1562783" y="483786"/>
                  <a:pt x="1563508" y="502482"/>
                  <a:pt x="1564959" y="524695"/>
                </a:cubicBezTo>
                <a:cubicBezTo>
                  <a:pt x="1566410" y="546908"/>
                  <a:pt x="1567136" y="565716"/>
                  <a:pt x="1567136" y="581119"/>
                </a:cubicBezTo>
                <a:cubicBezTo>
                  <a:pt x="1567136" y="604337"/>
                  <a:pt x="1566020" y="624987"/>
                  <a:pt x="1563787" y="643069"/>
                </a:cubicBezTo>
                <a:cubicBezTo>
                  <a:pt x="1530301" y="647757"/>
                  <a:pt x="1506302" y="650101"/>
                  <a:pt x="1491792" y="650101"/>
                </a:cubicBezTo>
                <a:cubicBezTo>
                  <a:pt x="1482415" y="650101"/>
                  <a:pt x="1474546" y="653450"/>
                  <a:pt x="1468184" y="660147"/>
                </a:cubicBezTo>
                <a:cubicBezTo>
                  <a:pt x="1461822" y="666844"/>
                  <a:pt x="1458640" y="674993"/>
                  <a:pt x="1458640" y="684592"/>
                </a:cubicBezTo>
                <a:cubicBezTo>
                  <a:pt x="1458640" y="694192"/>
                  <a:pt x="1461822" y="702284"/>
                  <a:pt x="1468184" y="708870"/>
                </a:cubicBezTo>
                <a:cubicBezTo>
                  <a:pt x="1474546" y="715455"/>
                  <a:pt x="1482415" y="718748"/>
                  <a:pt x="1491792" y="718748"/>
                </a:cubicBezTo>
                <a:cubicBezTo>
                  <a:pt x="1506749" y="718748"/>
                  <a:pt x="1528906" y="716683"/>
                  <a:pt x="1558262" y="712553"/>
                </a:cubicBezTo>
                <a:cubicBezTo>
                  <a:pt x="1587619" y="708423"/>
                  <a:pt x="1609663" y="706358"/>
                  <a:pt x="1624397" y="706358"/>
                </a:cubicBezTo>
                <a:cubicBezTo>
                  <a:pt x="1636899" y="706358"/>
                  <a:pt x="1655651" y="706079"/>
                  <a:pt x="1680654" y="705521"/>
                </a:cubicBezTo>
                <a:cubicBezTo>
                  <a:pt x="1705657" y="704963"/>
                  <a:pt x="1724410" y="704684"/>
                  <a:pt x="1736911" y="704684"/>
                </a:cubicBezTo>
                <a:cubicBezTo>
                  <a:pt x="1746287" y="704684"/>
                  <a:pt x="1754157" y="701391"/>
                  <a:pt x="1760519" y="694806"/>
                </a:cubicBezTo>
                <a:cubicBezTo>
                  <a:pt x="1766882" y="688220"/>
                  <a:pt x="1770063" y="680016"/>
                  <a:pt x="1770063" y="670193"/>
                </a:cubicBezTo>
                <a:cubicBezTo>
                  <a:pt x="1770063" y="660594"/>
                  <a:pt x="1766882" y="652501"/>
                  <a:pt x="1760519" y="645915"/>
                </a:cubicBezTo>
                <a:cubicBezTo>
                  <a:pt x="1754157" y="639330"/>
                  <a:pt x="1746287" y="636037"/>
                  <a:pt x="1736911" y="636037"/>
                </a:cubicBezTo>
                <a:lnTo>
                  <a:pt x="1631429" y="637376"/>
                </a:lnTo>
                <a:cubicBezTo>
                  <a:pt x="1632992" y="620187"/>
                  <a:pt x="1633774" y="601100"/>
                  <a:pt x="1633774" y="580115"/>
                </a:cubicBezTo>
                <a:cubicBezTo>
                  <a:pt x="1633774" y="564488"/>
                  <a:pt x="1633327" y="545177"/>
                  <a:pt x="1632434" y="522183"/>
                </a:cubicBezTo>
                <a:cubicBezTo>
                  <a:pt x="1631541" y="499190"/>
                  <a:pt x="1631095" y="479879"/>
                  <a:pt x="1631095" y="464252"/>
                </a:cubicBezTo>
                <a:cubicBezTo>
                  <a:pt x="1631095" y="405093"/>
                  <a:pt x="1633662" y="343032"/>
                  <a:pt x="1638797" y="278068"/>
                </a:cubicBezTo>
                <a:lnTo>
                  <a:pt x="1692710" y="285100"/>
                </a:lnTo>
                <a:cubicBezTo>
                  <a:pt x="1714364" y="288002"/>
                  <a:pt x="1732335" y="289453"/>
                  <a:pt x="1746622" y="289453"/>
                </a:cubicBezTo>
                <a:cubicBezTo>
                  <a:pt x="1755329" y="289453"/>
                  <a:pt x="1763031" y="286886"/>
                  <a:pt x="1769728" y="281752"/>
                </a:cubicBezTo>
                <a:cubicBezTo>
                  <a:pt x="1777318" y="275501"/>
                  <a:pt x="1781113" y="267129"/>
                  <a:pt x="1781113" y="256637"/>
                </a:cubicBezTo>
                <a:cubicBezTo>
                  <a:pt x="1781113" y="235652"/>
                  <a:pt x="1771179" y="223709"/>
                  <a:pt x="1751310" y="220807"/>
                </a:cubicBezTo>
                <a:cubicBezTo>
                  <a:pt x="1684338" y="211207"/>
                  <a:pt x="1628639" y="206407"/>
                  <a:pt x="1584214" y="206407"/>
                </a:cubicBezTo>
                <a:close/>
                <a:moveTo>
                  <a:pt x="946113" y="205068"/>
                </a:moveTo>
                <a:cubicBezTo>
                  <a:pt x="935398" y="205068"/>
                  <a:pt x="926133" y="208863"/>
                  <a:pt x="918320" y="216453"/>
                </a:cubicBezTo>
                <a:cubicBezTo>
                  <a:pt x="910506" y="224044"/>
                  <a:pt x="906599" y="233196"/>
                  <a:pt x="906599" y="243912"/>
                </a:cubicBezTo>
                <a:cubicBezTo>
                  <a:pt x="906599" y="254628"/>
                  <a:pt x="910506" y="263781"/>
                  <a:pt x="918320" y="271371"/>
                </a:cubicBezTo>
                <a:cubicBezTo>
                  <a:pt x="926133" y="278961"/>
                  <a:pt x="935398" y="282756"/>
                  <a:pt x="946113" y="282756"/>
                </a:cubicBezTo>
                <a:cubicBezTo>
                  <a:pt x="956829" y="282756"/>
                  <a:pt x="966038" y="278961"/>
                  <a:pt x="973740" y="271371"/>
                </a:cubicBezTo>
                <a:cubicBezTo>
                  <a:pt x="981442" y="263781"/>
                  <a:pt x="985292" y="254628"/>
                  <a:pt x="985292" y="243912"/>
                </a:cubicBezTo>
                <a:cubicBezTo>
                  <a:pt x="985292" y="233196"/>
                  <a:pt x="981442" y="224044"/>
                  <a:pt x="973740" y="216453"/>
                </a:cubicBezTo>
                <a:cubicBezTo>
                  <a:pt x="966038" y="208863"/>
                  <a:pt x="956829" y="205068"/>
                  <a:pt x="946113" y="205068"/>
                </a:cubicBezTo>
                <a:close/>
                <a:moveTo>
                  <a:pt x="755614" y="205068"/>
                </a:moveTo>
                <a:cubicBezTo>
                  <a:pt x="744898" y="205068"/>
                  <a:pt x="735633" y="208863"/>
                  <a:pt x="727820" y="216453"/>
                </a:cubicBezTo>
                <a:cubicBezTo>
                  <a:pt x="720006" y="224044"/>
                  <a:pt x="716100" y="233196"/>
                  <a:pt x="716100" y="243912"/>
                </a:cubicBezTo>
                <a:cubicBezTo>
                  <a:pt x="716100" y="254628"/>
                  <a:pt x="720006" y="263781"/>
                  <a:pt x="727820" y="271371"/>
                </a:cubicBezTo>
                <a:cubicBezTo>
                  <a:pt x="735633" y="278961"/>
                  <a:pt x="744898" y="282756"/>
                  <a:pt x="755614" y="282756"/>
                </a:cubicBezTo>
                <a:cubicBezTo>
                  <a:pt x="766329" y="282756"/>
                  <a:pt x="775538" y="278961"/>
                  <a:pt x="783240" y="271371"/>
                </a:cubicBezTo>
                <a:cubicBezTo>
                  <a:pt x="790941" y="263781"/>
                  <a:pt x="794793" y="254628"/>
                  <a:pt x="794793" y="243912"/>
                </a:cubicBezTo>
                <a:cubicBezTo>
                  <a:pt x="794793" y="233196"/>
                  <a:pt x="790941" y="224044"/>
                  <a:pt x="783240" y="216453"/>
                </a:cubicBezTo>
                <a:cubicBezTo>
                  <a:pt x="775538" y="208863"/>
                  <a:pt x="766329" y="205068"/>
                  <a:pt x="755614" y="205068"/>
                </a:cubicBezTo>
                <a:close/>
                <a:moveTo>
                  <a:pt x="3032758" y="196696"/>
                </a:moveTo>
                <a:cubicBezTo>
                  <a:pt x="3020256" y="196696"/>
                  <a:pt x="3010099" y="202389"/>
                  <a:pt x="3002285" y="213774"/>
                </a:cubicBezTo>
                <a:cubicBezTo>
                  <a:pt x="2995588" y="211542"/>
                  <a:pt x="2987886" y="209923"/>
                  <a:pt x="2979180" y="208919"/>
                </a:cubicBezTo>
                <a:cubicBezTo>
                  <a:pt x="2970473" y="207914"/>
                  <a:pt x="2960651" y="207412"/>
                  <a:pt x="2949712" y="207412"/>
                </a:cubicBezTo>
                <a:cubicBezTo>
                  <a:pt x="2895910" y="207412"/>
                  <a:pt x="2842555" y="240563"/>
                  <a:pt x="2789647" y="306866"/>
                </a:cubicBezTo>
                <a:cubicBezTo>
                  <a:pt x="2726246" y="386341"/>
                  <a:pt x="2694546" y="463917"/>
                  <a:pt x="2694546" y="539596"/>
                </a:cubicBezTo>
                <a:cubicBezTo>
                  <a:pt x="2694546" y="586477"/>
                  <a:pt x="2709950" y="627107"/>
                  <a:pt x="2740757" y="661487"/>
                </a:cubicBezTo>
                <a:cubicBezTo>
                  <a:pt x="2772681" y="696982"/>
                  <a:pt x="2811748" y="714730"/>
                  <a:pt x="2857959" y="714730"/>
                </a:cubicBezTo>
                <a:cubicBezTo>
                  <a:pt x="2918234" y="714730"/>
                  <a:pt x="2977840" y="688611"/>
                  <a:pt x="3036776" y="636372"/>
                </a:cubicBezTo>
                <a:cubicBezTo>
                  <a:pt x="3045259" y="628782"/>
                  <a:pt x="3049501" y="619964"/>
                  <a:pt x="3049501" y="609918"/>
                </a:cubicBezTo>
                <a:cubicBezTo>
                  <a:pt x="3049501" y="600988"/>
                  <a:pt x="3046264" y="592895"/>
                  <a:pt x="3039790" y="585640"/>
                </a:cubicBezTo>
                <a:cubicBezTo>
                  <a:pt x="3033316" y="578385"/>
                  <a:pt x="3025279" y="574757"/>
                  <a:pt x="3015680" y="574757"/>
                </a:cubicBezTo>
                <a:cubicBezTo>
                  <a:pt x="3009206" y="574757"/>
                  <a:pt x="2999606" y="579445"/>
                  <a:pt x="2986881" y="588821"/>
                </a:cubicBezTo>
                <a:cubicBezTo>
                  <a:pt x="2960092" y="608467"/>
                  <a:pt x="2940224" y="621638"/>
                  <a:pt x="2927276" y="628335"/>
                </a:cubicBezTo>
                <a:cubicBezTo>
                  <a:pt x="2904059" y="640167"/>
                  <a:pt x="2880953" y="646083"/>
                  <a:pt x="2857959" y="646083"/>
                </a:cubicBezTo>
                <a:cubicBezTo>
                  <a:pt x="2831170" y="646083"/>
                  <a:pt x="2808288" y="635367"/>
                  <a:pt x="2789312" y="613936"/>
                </a:cubicBezTo>
                <a:cubicBezTo>
                  <a:pt x="2770783" y="593175"/>
                  <a:pt x="2761518" y="568395"/>
                  <a:pt x="2761518" y="539596"/>
                </a:cubicBezTo>
                <a:cubicBezTo>
                  <a:pt x="2761518" y="479991"/>
                  <a:pt x="2788308" y="416925"/>
                  <a:pt x="2841886" y="350399"/>
                </a:cubicBezTo>
                <a:cubicBezTo>
                  <a:pt x="2881400" y="300839"/>
                  <a:pt x="2917342" y="276059"/>
                  <a:pt x="2949712" y="276059"/>
                </a:cubicBezTo>
                <a:cubicBezTo>
                  <a:pt x="2968241" y="276059"/>
                  <a:pt x="2979849" y="277287"/>
                  <a:pt x="2984537" y="279742"/>
                </a:cubicBezTo>
                <a:cubicBezTo>
                  <a:pt x="2989895" y="282868"/>
                  <a:pt x="2995700" y="291574"/>
                  <a:pt x="3001950" y="305862"/>
                </a:cubicBezTo>
                <a:cubicBezTo>
                  <a:pt x="3009094" y="322605"/>
                  <a:pt x="3019810" y="330977"/>
                  <a:pt x="3034097" y="330977"/>
                </a:cubicBezTo>
                <a:cubicBezTo>
                  <a:pt x="3045259" y="330977"/>
                  <a:pt x="3053854" y="326623"/>
                  <a:pt x="3059882" y="317917"/>
                </a:cubicBezTo>
                <a:cubicBezTo>
                  <a:pt x="3064793" y="310996"/>
                  <a:pt x="3067249" y="302960"/>
                  <a:pt x="3067249" y="293807"/>
                </a:cubicBezTo>
                <a:cubicBezTo>
                  <a:pt x="3067249" y="267464"/>
                  <a:pt x="3065463" y="245252"/>
                  <a:pt x="3061891" y="227169"/>
                </a:cubicBezTo>
                <a:cubicBezTo>
                  <a:pt x="3057872" y="206854"/>
                  <a:pt x="3048161" y="196696"/>
                  <a:pt x="3032758" y="196696"/>
                </a:cubicBezTo>
                <a:close/>
                <a:moveTo>
                  <a:pt x="220018" y="186316"/>
                </a:moveTo>
                <a:cubicBezTo>
                  <a:pt x="210865" y="186316"/>
                  <a:pt x="203219" y="189441"/>
                  <a:pt x="197080" y="195692"/>
                </a:cubicBezTo>
                <a:cubicBezTo>
                  <a:pt x="190941" y="201943"/>
                  <a:pt x="187871" y="209756"/>
                  <a:pt x="187871" y="219132"/>
                </a:cubicBezTo>
                <a:cubicBezTo>
                  <a:pt x="187871" y="236768"/>
                  <a:pt x="186755" y="263278"/>
                  <a:pt x="184523" y="298662"/>
                </a:cubicBezTo>
                <a:cubicBezTo>
                  <a:pt x="182290" y="334046"/>
                  <a:pt x="181174" y="360556"/>
                  <a:pt x="181174" y="378192"/>
                </a:cubicBezTo>
                <a:cubicBezTo>
                  <a:pt x="181174" y="390694"/>
                  <a:pt x="181621" y="409335"/>
                  <a:pt x="182513" y="434114"/>
                </a:cubicBezTo>
                <a:cubicBezTo>
                  <a:pt x="183406" y="458894"/>
                  <a:pt x="183853" y="477423"/>
                  <a:pt x="183853" y="489702"/>
                </a:cubicBezTo>
                <a:cubicBezTo>
                  <a:pt x="183853" y="513365"/>
                  <a:pt x="181900" y="548693"/>
                  <a:pt x="177993" y="595686"/>
                </a:cubicBezTo>
                <a:cubicBezTo>
                  <a:pt x="174086" y="642678"/>
                  <a:pt x="172133" y="678007"/>
                  <a:pt x="172133" y="701670"/>
                </a:cubicBezTo>
                <a:cubicBezTo>
                  <a:pt x="172133" y="710823"/>
                  <a:pt x="175202" y="718581"/>
                  <a:pt x="181341" y="724943"/>
                </a:cubicBezTo>
                <a:cubicBezTo>
                  <a:pt x="187481" y="731306"/>
                  <a:pt x="195127" y="734487"/>
                  <a:pt x="204280" y="734487"/>
                </a:cubicBezTo>
                <a:cubicBezTo>
                  <a:pt x="213433" y="734487"/>
                  <a:pt x="221079" y="731306"/>
                  <a:pt x="227218" y="724943"/>
                </a:cubicBezTo>
                <a:cubicBezTo>
                  <a:pt x="233357" y="718581"/>
                  <a:pt x="236427" y="710823"/>
                  <a:pt x="236427" y="701670"/>
                </a:cubicBezTo>
                <a:cubicBezTo>
                  <a:pt x="236427" y="681355"/>
                  <a:pt x="238436" y="652724"/>
                  <a:pt x="242454" y="615778"/>
                </a:cubicBezTo>
                <a:cubicBezTo>
                  <a:pt x="246472" y="578831"/>
                  <a:pt x="248482" y="550312"/>
                  <a:pt x="248482" y="530220"/>
                </a:cubicBezTo>
                <a:lnTo>
                  <a:pt x="389124" y="502761"/>
                </a:lnTo>
                <a:cubicBezTo>
                  <a:pt x="445381" y="492046"/>
                  <a:pt x="492597" y="486353"/>
                  <a:pt x="530771" y="485683"/>
                </a:cubicBezTo>
                <a:cubicBezTo>
                  <a:pt x="529655" y="502427"/>
                  <a:pt x="529097" y="518946"/>
                  <a:pt x="529097" y="535243"/>
                </a:cubicBezTo>
                <a:cubicBezTo>
                  <a:pt x="529097" y="552210"/>
                  <a:pt x="530325" y="577659"/>
                  <a:pt x="532780" y="611592"/>
                </a:cubicBezTo>
                <a:cubicBezTo>
                  <a:pt x="535236" y="645525"/>
                  <a:pt x="536464" y="671086"/>
                  <a:pt x="536464" y="688276"/>
                </a:cubicBezTo>
                <a:cubicBezTo>
                  <a:pt x="536464" y="697429"/>
                  <a:pt x="539589" y="705130"/>
                  <a:pt x="545840" y="711381"/>
                </a:cubicBezTo>
                <a:cubicBezTo>
                  <a:pt x="552091" y="717632"/>
                  <a:pt x="559681" y="720757"/>
                  <a:pt x="568611" y="720757"/>
                </a:cubicBezTo>
                <a:cubicBezTo>
                  <a:pt x="577764" y="720757"/>
                  <a:pt x="585410" y="717632"/>
                  <a:pt x="591549" y="711381"/>
                </a:cubicBezTo>
                <a:cubicBezTo>
                  <a:pt x="597688" y="705130"/>
                  <a:pt x="600758" y="697429"/>
                  <a:pt x="600758" y="688276"/>
                </a:cubicBezTo>
                <a:cubicBezTo>
                  <a:pt x="600758" y="671086"/>
                  <a:pt x="599530" y="645525"/>
                  <a:pt x="597074" y="611592"/>
                </a:cubicBezTo>
                <a:cubicBezTo>
                  <a:pt x="594619" y="577659"/>
                  <a:pt x="593391" y="552210"/>
                  <a:pt x="593391" y="535243"/>
                </a:cubicBezTo>
                <a:cubicBezTo>
                  <a:pt x="593391" y="512919"/>
                  <a:pt x="595344" y="479656"/>
                  <a:pt x="599251" y="435454"/>
                </a:cubicBezTo>
                <a:cubicBezTo>
                  <a:pt x="603158" y="391252"/>
                  <a:pt x="605111" y="357989"/>
                  <a:pt x="605111" y="335665"/>
                </a:cubicBezTo>
                <a:cubicBezTo>
                  <a:pt x="605111" y="328967"/>
                  <a:pt x="604888" y="319033"/>
                  <a:pt x="604441" y="305862"/>
                </a:cubicBezTo>
                <a:cubicBezTo>
                  <a:pt x="603995" y="292690"/>
                  <a:pt x="603771" y="282756"/>
                  <a:pt x="603771" y="276059"/>
                </a:cubicBezTo>
                <a:cubicBezTo>
                  <a:pt x="603771" y="257976"/>
                  <a:pt x="605446" y="244247"/>
                  <a:pt x="608794" y="234871"/>
                </a:cubicBezTo>
                <a:cubicBezTo>
                  <a:pt x="610804" y="229066"/>
                  <a:pt x="611808" y="224490"/>
                  <a:pt x="611808" y="221141"/>
                </a:cubicBezTo>
                <a:cubicBezTo>
                  <a:pt x="611808" y="211765"/>
                  <a:pt x="608460" y="204008"/>
                  <a:pt x="601762" y="197868"/>
                </a:cubicBezTo>
                <a:cubicBezTo>
                  <a:pt x="595065" y="191729"/>
                  <a:pt x="587475" y="188660"/>
                  <a:pt x="578992" y="188660"/>
                </a:cubicBezTo>
                <a:cubicBezTo>
                  <a:pt x="565597" y="188660"/>
                  <a:pt x="555216" y="200603"/>
                  <a:pt x="547849" y="224490"/>
                </a:cubicBezTo>
                <a:cubicBezTo>
                  <a:pt x="542268" y="241903"/>
                  <a:pt x="539478" y="259093"/>
                  <a:pt x="539478" y="276059"/>
                </a:cubicBezTo>
                <a:cubicBezTo>
                  <a:pt x="539478" y="340353"/>
                  <a:pt x="538250" y="388461"/>
                  <a:pt x="535794" y="420385"/>
                </a:cubicBezTo>
                <a:cubicBezTo>
                  <a:pt x="496504" y="420832"/>
                  <a:pt x="448172" y="426413"/>
                  <a:pt x="390798" y="437128"/>
                </a:cubicBezTo>
                <a:lnTo>
                  <a:pt x="247142" y="464252"/>
                </a:lnTo>
                <a:lnTo>
                  <a:pt x="245133" y="379532"/>
                </a:lnTo>
                <a:cubicBezTo>
                  <a:pt x="245133" y="361672"/>
                  <a:pt x="246305" y="334939"/>
                  <a:pt x="248649" y="299332"/>
                </a:cubicBezTo>
                <a:cubicBezTo>
                  <a:pt x="250993" y="263725"/>
                  <a:pt x="252165" y="236992"/>
                  <a:pt x="252165" y="219132"/>
                </a:cubicBezTo>
                <a:cubicBezTo>
                  <a:pt x="252165" y="209756"/>
                  <a:pt x="249095" y="201943"/>
                  <a:pt x="242956" y="195692"/>
                </a:cubicBezTo>
                <a:cubicBezTo>
                  <a:pt x="236817" y="189441"/>
                  <a:pt x="229171" y="186316"/>
                  <a:pt x="220018" y="186316"/>
                </a:cubicBezTo>
                <a:close/>
                <a:moveTo>
                  <a:pt x="1862932" y="176270"/>
                </a:moveTo>
                <a:cubicBezTo>
                  <a:pt x="1849091" y="176270"/>
                  <a:pt x="1840607" y="185088"/>
                  <a:pt x="1837482" y="202724"/>
                </a:cubicBezTo>
                <a:lnTo>
                  <a:pt x="1824757" y="261325"/>
                </a:lnTo>
                <a:cubicBezTo>
                  <a:pt x="1819399" y="285435"/>
                  <a:pt x="1816832" y="301509"/>
                  <a:pt x="1817055" y="309545"/>
                </a:cubicBezTo>
                <a:cubicBezTo>
                  <a:pt x="1817725" y="330084"/>
                  <a:pt x="1826655" y="340353"/>
                  <a:pt x="1843844" y="340353"/>
                </a:cubicBezTo>
                <a:cubicBezTo>
                  <a:pt x="1857462" y="340353"/>
                  <a:pt x="1866950" y="329749"/>
                  <a:pt x="1872308" y="308541"/>
                </a:cubicBezTo>
                <a:cubicBezTo>
                  <a:pt x="1884586" y="259427"/>
                  <a:pt x="1890502" y="225495"/>
                  <a:pt x="1890056" y="206742"/>
                </a:cubicBezTo>
                <a:cubicBezTo>
                  <a:pt x="1890056" y="198482"/>
                  <a:pt x="1887544" y="191339"/>
                  <a:pt x="1882521" y="185311"/>
                </a:cubicBezTo>
                <a:cubicBezTo>
                  <a:pt x="1877498" y="179283"/>
                  <a:pt x="1870968" y="176270"/>
                  <a:pt x="1862932" y="176270"/>
                </a:cubicBezTo>
                <a:close/>
                <a:moveTo>
                  <a:pt x="3852057" y="167898"/>
                </a:moveTo>
                <a:cubicBezTo>
                  <a:pt x="3830179" y="167898"/>
                  <a:pt x="3819240" y="179060"/>
                  <a:pt x="3819240" y="201384"/>
                </a:cubicBezTo>
                <a:cubicBezTo>
                  <a:pt x="3819240" y="236657"/>
                  <a:pt x="3818682" y="277008"/>
                  <a:pt x="3817566" y="322438"/>
                </a:cubicBezTo>
                <a:cubicBezTo>
                  <a:pt x="3816449" y="367867"/>
                  <a:pt x="3815891" y="408218"/>
                  <a:pt x="3815891" y="443491"/>
                </a:cubicBezTo>
                <a:cubicBezTo>
                  <a:pt x="3815891" y="470503"/>
                  <a:pt x="3814663" y="511077"/>
                  <a:pt x="3812208" y="565213"/>
                </a:cubicBezTo>
                <a:cubicBezTo>
                  <a:pt x="3809752" y="619350"/>
                  <a:pt x="3808524" y="659924"/>
                  <a:pt x="3808524" y="686936"/>
                </a:cubicBezTo>
                <a:cubicBezTo>
                  <a:pt x="3808524" y="709707"/>
                  <a:pt x="3819463" y="721092"/>
                  <a:pt x="3841341" y="721092"/>
                </a:cubicBezTo>
                <a:cubicBezTo>
                  <a:pt x="3860986" y="721092"/>
                  <a:pt x="3871925" y="709930"/>
                  <a:pt x="3874158" y="687606"/>
                </a:cubicBezTo>
                <a:cubicBezTo>
                  <a:pt x="3875943" y="653450"/>
                  <a:pt x="3876836" y="627554"/>
                  <a:pt x="3876836" y="609918"/>
                </a:cubicBezTo>
                <a:lnTo>
                  <a:pt x="3881859" y="443491"/>
                </a:lnTo>
                <a:cubicBezTo>
                  <a:pt x="3881859" y="408218"/>
                  <a:pt x="3882418" y="367867"/>
                  <a:pt x="3883534" y="322438"/>
                </a:cubicBezTo>
                <a:cubicBezTo>
                  <a:pt x="3884650" y="277008"/>
                  <a:pt x="3885208" y="236657"/>
                  <a:pt x="3885208" y="201384"/>
                </a:cubicBezTo>
                <a:cubicBezTo>
                  <a:pt x="3885208" y="179060"/>
                  <a:pt x="3874158" y="167898"/>
                  <a:pt x="3852057" y="167898"/>
                </a:cubicBezTo>
                <a:close/>
                <a:moveTo>
                  <a:pt x="630916" y="0"/>
                </a:moveTo>
                <a:lnTo>
                  <a:pt x="918219" y="0"/>
                </a:lnTo>
                <a:lnTo>
                  <a:pt x="2295546" y="0"/>
                </a:lnTo>
                <a:lnTo>
                  <a:pt x="4878395" y="0"/>
                </a:lnTo>
                <a:cubicBezTo>
                  <a:pt x="5226840" y="0"/>
                  <a:pt x="5509311" y="282471"/>
                  <a:pt x="5509311" y="630916"/>
                </a:cubicBezTo>
                <a:lnTo>
                  <a:pt x="5509311" y="2208161"/>
                </a:lnTo>
                <a:lnTo>
                  <a:pt x="5509311" y="3154503"/>
                </a:lnTo>
                <a:cubicBezTo>
                  <a:pt x="5509311" y="3502948"/>
                  <a:pt x="5226840" y="3785419"/>
                  <a:pt x="4878395" y="3785419"/>
                </a:cubicBezTo>
                <a:lnTo>
                  <a:pt x="2295546" y="3785419"/>
                </a:lnTo>
                <a:lnTo>
                  <a:pt x="1606901" y="4258596"/>
                </a:lnTo>
                <a:lnTo>
                  <a:pt x="918219" y="3785419"/>
                </a:lnTo>
                <a:lnTo>
                  <a:pt x="630916" y="3785419"/>
                </a:lnTo>
                <a:cubicBezTo>
                  <a:pt x="282471" y="3785419"/>
                  <a:pt x="0" y="3502948"/>
                  <a:pt x="0" y="3154503"/>
                </a:cubicBezTo>
                <a:lnTo>
                  <a:pt x="0" y="2208161"/>
                </a:lnTo>
                <a:lnTo>
                  <a:pt x="0" y="630916"/>
                </a:lnTo>
                <a:cubicBezTo>
                  <a:pt x="0" y="282471"/>
                  <a:pt x="282471" y="0"/>
                  <a:pt x="630916" y="0"/>
                </a:cubicBezTo>
                <a:close/>
              </a:path>
            </a:pathLst>
          </a:cu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en-US" sz="54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Comic Sans MS" panose="030F0702030302020204" pitchFamily="66" charset="0"/>
              </a:rPr>
              <a:t>   </a:t>
            </a:r>
            <a:endParaRPr lang="en-IN" sz="5400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  <a:latin typeface="Comic Sans MS" panose="030F0702030302020204" pitchFamily="66" charset="0"/>
            </a:endParaRPr>
          </a:p>
        </p:txBody>
      </p:sp>
      <p:pic>
        <p:nvPicPr>
          <p:cNvPr id="58" name="Picture 57" descr="A person in a hat in a field&#10;&#10;Description automatically generated">
            <a:extLst>
              <a:ext uri="{FF2B5EF4-FFF2-40B4-BE49-F238E27FC236}">
                <a16:creationId xmlns:a16="http://schemas.microsoft.com/office/drawing/2014/main" id="{88E88B19-6C9A-931A-D02C-16923E50490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22738" y="1398615"/>
            <a:ext cx="4795777" cy="497105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279AB15-B7E9-A2D6-06CB-24E01CF9E71F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2082539">
            <a:off x="-4672415" y="3316185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B45BBA7-2D82-28E9-56AC-F1ACF04F8141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4782539">
            <a:off x="-6182551" y="4484034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6916782-1BCA-866E-9C1C-9EA01B4B64D8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7482539">
            <a:off x="-8095852" y="3937771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B618AE5-C38B-5C1E-4A6A-8EB67F3CEA06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11082539">
            <a:off x="-8793401" y="2214165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222408-E7E1-5C73-F681-DD5DADD03842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3782539">
            <a:off x="-7883373" y="516835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F6386EA-84C6-85E5-DD7A-4879242CAC60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17382539">
            <a:off x="-6040707" y="182265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7ED5D36-D133-306C-72EA-82F6A133B4D2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20982539">
            <a:off x="-4700664" y="1391236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647543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19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and person standing in a field&#10;&#10;Description automatically generated">
            <a:extLst>
              <a:ext uri="{FF2B5EF4-FFF2-40B4-BE49-F238E27FC236}">
                <a16:creationId xmlns:a16="http://schemas.microsoft.com/office/drawing/2014/main" id="{CAFA7076-7D3B-6FD9-8171-7FE521F03E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9729" y="2135761"/>
            <a:ext cx="2749849" cy="286699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73889D1-3704-7232-6AFC-EF9F26645E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673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73889D1-3704-7232-6AFC-EF9F26645E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282973-5468-C3FE-9280-C31D1044A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F88BC9-D7DD-BE77-73B7-DF931B1998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3</a:t>
            </a:fld>
            <a:endParaRPr lang="en-GB" dirty="0">
              <a:solidFill>
                <a:srgbClr val="626469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5594385-AC98-C490-2541-4E9B08D0AF1F}"/>
              </a:ext>
            </a:extLst>
          </p:cNvPr>
          <p:cNvSpPr txBox="1"/>
          <p:nvPr/>
        </p:nvSpPr>
        <p:spPr>
          <a:xfrm>
            <a:off x="0" y="0"/>
            <a:ext cx="4178461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i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dist="38100" dir="2640000" algn="bl" rotWithShape="0">
                    <a:schemeClr val="accent1"/>
                  </a:outerShdw>
                </a:effectLst>
                <a:latin typeface="Comic Sans MS" panose="030F0702030302020204" pitchFamily="66" charset="0"/>
              </a:rPr>
              <a:t>Syngenta's TSR</a:t>
            </a:r>
          </a:p>
          <a:p>
            <a:pPr algn="ctr"/>
            <a:endParaRPr lang="en-US" sz="4000" b="1" i="0" dirty="0">
              <a:ln w="12700">
                <a:solidFill>
                  <a:schemeClr val="accent1"/>
                </a:solidFill>
                <a:prstDash val="solid"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dist="38100" dir="2640000" algn="bl" rotWithShape="0">
                  <a:schemeClr val="accent1"/>
                </a:outerShdw>
              </a:effectLst>
              <a:latin typeface="Comic Sans MS" panose="030F0702030302020204" pitchFamily="66" charset="0"/>
            </a:endParaRPr>
          </a:p>
          <a:p>
            <a:pPr algn="ctr"/>
            <a:r>
              <a:rPr lang="en-US" sz="24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dist="38100" dir="2640000" algn="bl" rotWithShape="0">
                    <a:schemeClr val="accent1"/>
                  </a:outerShdw>
                </a:effectLst>
                <a:latin typeface="Comic Sans MS" panose="030F0702030302020204" pitchFamily="66" charset="0"/>
              </a:rPr>
              <a:t>Cultivating Success with Carlos </a:t>
            </a:r>
          </a:p>
          <a:p>
            <a:pPr algn="ctr"/>
            <a:endParaRPr lang="en-US" sz="2400" b="1" dirty="0">
              <a:ln w="12700">
                <a:solidFill>
                  <a:schemeClr val="accent1"/>
                </a:solidFill>
                <a:prstDash val="solid"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dist="38100" dir="2640000" algn="bl" rotWithShape="0">
                  <a:schemeClr val="accent1"/>
                </a:outerShdw>
              </a:effectLst>
              <a:latin typeface="Comic Sans MS" panose="030F0702030302020204" pitchFamily="66" charset="0"/>
            </a:endParaRPr>
          </a:p>
          <a:p>
            <a:pPr algn="ctr"/>
            <a:endParaRPr lang="en-US" sz="2400" b="1" dirty="0">
              <a:ln w="12700">
                <a:solidFill>
                  <a:schemeClr val="accent1"/>
                </a:solidFill>
                <a:prstDash val="solid"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dist="38100" dir="2640000" algn="bl" rotWithShape="0">
                  <a:schemeClr val="accent1"/>
                </a:outerShdw>
              </a:effectLst>
              <a:latin typeface="Comic Sans MS" panose="030F0702030302020204" pitchFamily="66" charset="0"/>
            </a:endParaRPr>
          </a:p>
          <a:p>
            <a:pPr algn="ctr"/>
            <a:r>
              <a:rPr lang="en-US" sz="36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dist="38100" dir="2640000" algn="bl" rotWithShape="0">
                    <a:schemeClr val="accent1"/>
                  </a:outerShdw>
                </a:effectLst>
                <a:latin typeface="Comic Sans MS" panose="030F0702030302020204" pitchFamily="66" charset="0"/>
              </a:rPr>
              <a:t>Land Preparation</a:t>
            </a:r>
            <a:endParaRPr lang="en-IN" sz="3600" b="1" dirty="0">
              <a:ln w="12700">
                <a:solidFill>
                  <a:schemeClr val="accent1"/>
                </a:solidFill>
                <a:prstDash val="solid"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dist="38100" dir="2640000" algn="bl" rotWithShape="0">
                  <a:schemeClr val="accent1"/>
                </a:outerShdw>
              </a:effectLst>
              <a:latin typeface="Comic Sans MS" panose="030F0702030302020204" pitchFamily="66" charset="0"/>
            </a:endParaRPr>
          </a:p>
          <a:p>
            <a:pPr algn="ctr"/>
            <a:endParaRPr lang="en-US" sz="4000" b="1" i="0" dirty="0">
              <a:ln w="12700">
                <a:solidFill>
                  <a:schemeClr val="accent1"/>
                </a:solidFill>
                <a:prstDash val="solid"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dist="38100" dir="2640000" algn="bl" rotWithShape="0">
                  <a:schemeClr val="accent1"/>
                </a:outerShdw>
              </a:effectLst>
              <a:latin typeface="Comic Sans MS" panose="030F0702030302020204" pitchFamily="66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E35689-2865-F4C2-2161-DD8CB52350A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5696164">
            <a:off x="6737391" y="4571213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5FCA149-6997-4845-6506-822DECF8834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8396164">
            <a:off x="4989906" y="3797851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ECBA10-766D-0CE6-B2B4-C6EDDDD22EC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1096164">
            <a:off x="4497900" y="1908326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78A2C14-99BA-2CB6-5142-1FACB914A1B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14696164">
            <a:off x="5657490" y="416794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6BD9DA-7BDC-305B-BF98-45A057B1CE2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7396164">
            <a:off x="7577484" y="377720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216D2C3-42DE-79C5-1336-E34DC3FEFAF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20996164">
            <a:off x="8782893" y="1811020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EFDDF69-A073-D930-3610-D9D8175885CB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2996164">
            <a:off x="8386367" y="3648590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C8D84B47-EB53-2954-A8C7-93FD442D9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21549"/>
              </p:ext>
            </p:extLst>
          </p:nvPr>
        </p:nvGraphicFramePr>
        <p:xfrm>
          <a:off x="1233933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BF5C801C-8DB2-162B-4031-AC5992CA79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33933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9CF4389B-86EF-5171-B253-009C2994D14C}"/>
              </a:ext>
            </a:extLst>
          </p:cNvPr>
          <p:cNvGrpSpPr/>
          <p:nvPr/>
        </p:nvGrpSpPr>
        <p:grpSpPr>
          <a:xfrm>
            <a:off x="12693767" y="1587"/>
            <a:ext cx="2818998" cy="6856412"/>
            <a:chOff x="4881724" y="1587"/>
            <a:chExt cx="2818998" cy="6856412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AFC861-0830-F27E-3AEB-652D5D58D189}"/>
                </a:ext>
              </a:extLst>
            </p:cNvPr>
            <p:cNvSpPr/>
            <p:nvPr/>
          </p:nvSpPr>
          <p:spPr>
            <a:xfrm rot="5400000">
              <a:off x="2863017" y="2020294"/>
              <a:ext cx="6856412" cy="2818998"/>
            </a:xfrm>
            <a:custGeom>
              <a:avLst/>
              <a:gdLst>
                <a:gd name="connsiteX0" fmla="*/ 0 w 6856412"/>
                <a:gd name="connsiteY0" fmla="*/ 2818998 h 2818998"/>
                <a:gd name="connsiteX1" fmla="*/ 0 w 6856412"/>
                <a:gd name="connsiteY1" fmla="*/ 382891 h 2818998"/>
                <a:gd name="connsiteX2" fmla="*/ 683722 w 6856412"/>
                <a:gd name="connsiteY2" fmla="*/ 382891 h 2818998"/>
                <a:gd name="connsiteX3" fmla="*/ 1119289 w 6856412"/>
                <a:gd name="connsiteY3" fmla="*/ 0 h 2818998"/>
                <a:gd name="connsiteX4" fmla="*/ 1554855 w 6856412"/>
                <a:gd name="connsiteY4" fmla="*/ 382891 h 2818998"/>
                <a:gd name="connsiteX5" fmla="*/ 6856412 w 6856412"/>
                <a:gd name="connsiteY5" fmla="*/ 382891 h 2818998"/>
                <a:gd name="connsiteX6" fmla="*/ 6856412 w 6856412"/>
                <a:gd name="connsiteY6" fmla="*/ 2818998 h 281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818998">
                  <a:moveTo>
                    <a:pt x="0" y="2818998"/>
                  </a:moveTo>
                  <a:lnTo>
                    <a:pt x="0" y="382891"/>
                  </a:lnTo>
                  <a:lnTo>
                    <a:pt x="683722" y="382891"/>
                  </a:lnTo>
                  <a:lnTo>
                    <a:pt x="1119289" y="0"/>
                  </a:lnTo>
                  <a:lnTo>
                    <a:pt x="1554855" y="382891"/>
                  </a:lnTo>
                  <a:lnTo>
                    <a:pt x="6856412" y="382891"/>
                  </a:lnTo>
                  <a:lnTo>
                    <a:pt x="6856412" y="2818998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52AC370-7675-197E-C1B1-68D6AFFF2222}"/>
                </a:ext>
              </a:extLst>
            </p:cNvPr>
            <p:cNvSpPr txBox="1"/>
            <p:nvPr/>
          </p:nvSpPr>
          <p:spPr>
            <a:xfrm>
              <a:off x="5466563" y="1020671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He was confident he could handle this land but later which turned into a nightmare</a:t>
              </a:r>
            </a:p>
          </p:txBody>
        </p:sp>
        <p:pic>
          <p:nvPicPr>
            <p:cNvPr id="19" name="Graphic 18" descr="Aspiration with solid fill">
              <a:extLst>
                <a:ext uri="{FF2B5EF4-FFF2-40B4-BE49-F238E27FC236}">
                  <a16:creationId xmlns:a16="http://schemas.microsoft.com/office/drawing/2014/main" id="{7C546F90-8E0C-F42C-1672-FFA6D1F759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120341" y="4012393"/>
              <a:ext cx="2053521" cy="2053521"/>
            </a:xfrm>
            <a:prstGeom prst="rect">
              <a:avLst/>
            </a:prstGeom>
          </p:spPr>
        </p:pic>
      </p:grp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0D3048FB-84A1-4FFB-2B17-415BF5878F81}"/>
              </a:ext>
            </a:extLst>
          </p:cNvPr>
          <p:cNvSpPr txBox="1">
            <a:spLocks/>
          </p:cNvSpPr>
          <p:nvPr/>
        </p:nvSpPr>
        <p:spPr>
          <a:xfrm>
            <a:off x="12999161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1821974-5951-A3D4-DE4E-291BBECA163A}"/>
              </a:ext>
            </a:extLst>
          </p:cNvPr>
          <p:cNvSpPr txBox="1">
            <a:spLocks/>
          </p:cNvSpPr>
          <p:nvPr/>
        </p:nvSpPr>
        <p:spPr>
          <a:xfrm>
            <a:off x="12642545" y="6500138"/>
            <a:ext cx="347472" cy="24688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3</a:t>
            </a:fld>
            <a:endParaRPr lang="en-GB" dirty="0">
              <a:solidFill>
                <a:srgbClr val="626469"/>
              </a:solidFill>
            </a:endParaRPr>
          </a:p>
        </p:txBody>
      </p:sp>
      <p:sp>
        <p:nvSpPr>
          <p:cNvPr id="22" name="Speech Bubble: Rectangle with Corners Rounded 21">
            <a:extLst>
              <a:ext uri="{FF2B5EF4-FFF2-40B4-BE49-F238E27FC236}">
                <a16:creationId xmlns:a16="http://schemas.microsoft.com/office/drawing/2014/main" id="{6EF5B123-308C-59CE-9EDE-67562360F5D2}"/>
              </a:ext>
            </a:extLst>
          </p:cNvPr>
          <p:cNvSpPr/>
          <p:nvPr/>
        </p:nvSpPr>
        <p:spPr>
          <a:xfrm>
            <a:off x="15375915" y="1120877"/>
            <a:ext cx="45719" cy="45719"/>
          </a:xfrm>
          <a:prstGeom prst="wedgeRoundRectCallou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8C0194E-E7E8-A30E-D890-A9FA039F260A}"/>
              </a:ext>
            </a:extLst>
          </p:cNvPr>
          <p:cNvGrpSpPr/>
          <p:nvPr/>
        </p:nvGrpSpPr>
        <p:grpSpPr>
          <a:xfrm>
            <a:off x="12512256" y="1588"/>
            <a:ext cx="2872264" cy="6856412"/>
            <a:chOff x="2454721" y="1588"/>
            <a:chExt cx="2872264" cy="6856412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A3CF305-42E9-FBB5-A5E8-58B3021F1AAC}"/>
                </a:ext>
              </a:extLst>
            </p:cNvPr>
            <p:cNvSpPr/>
            <p:nvPr/>
          </p:nvSpPr>
          <p:spPr>
            <a:xfrm rot="5400000">
              <a:off x="462647" y="1993662"/>
              <a:ext cx="6856412" cy="2872264"/>
            </a:xfrm>
            <a:custGeom>
              <a:avLst/>
              <a:gdLst>
                <a:gd name="connsiteX0" fmla="*/ 0 w 6856412"/>
                <a:gd name="connsiteY0" fmla="*/ 2872264 h 2872264"/>
                <a:gd name="connsiteX1" fmla="*/ 0 w 6856412"/>
                <a:gd name="connsiteY1" fmla="*/ 436157 h 2872264"/>
                <a:gd name="connsiteX2" fmla="*/ 624715 w 6856412"/>
                <a:gd name="connsiteY2" fmla="*/ 436157 h 2872264"/>
                <a:gd name="connsiteX3" fmla="*/ 1120876 w 6856412"/>
                <a:gd name="connsiteY3" fmla="*/ 0 h 2872264"/>
                <a:gd name="connsiteX4" fmla="*/ 1617036 w 6856412"/>
                <a:gd name="connsiteY4" fmla="*/ 436157 h 2872264"/>
                <a:gd name="connsiteX5" fmla="*/ 6856412 w 6856412"/>
                <a:gd name="connsiteY5" fmla="*/ 436157 h 2872264"/>
                <a:gd name="connsiteX6" fmla="*/ 6856412 w 6856412"/>
                <a:gd name="connsiteY6" fmla="*/ 2872264 h 287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872264">
                  <a:moveTo>
                    <a:pt x="0" y="2872264"/>
                  </a:moveTo>
                  <a:lnTo>
                    <a:pt x="0" y="436157"/>
                  </a:lnTo>
                  <a:lnTo>
                    <a:pt x="624715" y="436157"/>
                  </a:lnTo>
                  <a:lnTo>
                    <a:pt x="1120876" y="0"/>
                  </a:lnTo>
                  <a:lnTo>
                    <a:pt x="1617036" y="436157"/>
                  </a:lnTo>
                  <a:lnTo>
                    <a:pt x="6856412" y="436157"/>
                  </a:lnTo>
                  <a:lnTo>
                    <a:pt x="6856412" y="2872264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04C2309-6419-32A4-AA4C-D09E0FE25D28}"/>
                </a:ext>
              </a:extLst>
            </p:cNvPr>
            <p:cNvSpPr txBox="1"/>
            <p:nvPr/>
          </p:nvSpPr>
          <p:spPr>
            <a:xfrm>
              <a:off x="2862675" y="820296"/>
              <a:ext cx="1608647" cy="1516284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Until he stumbled upon his inheritance from his family which was 200 Ha</a:t>
              </a:r>
            </a:p>
          </p:txBody>
        </p:sp>
        <p:pic>
          <p:nvPicPr>
            <p:cNvPr id="26" name="Graphic 25" descr="Flying Money with solid fill">
              <a:extLst>
                <a:ext uri="{FF2B5EF4-FFF2-40B4-BE49-F238E27FC236}">
                  <a16:creationId xmlns:a16="http://schemas.microsoft.com/office/drawing/2014/main" id="{275B3C4D-3815-D41C-5B76-F1595294A5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2838270" y="4103514"/>
              <a:ext cx="1715654" cy="1715654"/>
            </a:xfrm>
            <a:prstGeom prst="rect">
              <a:avLst/>
            </a:prstGeom>
          </p:spPr>
        </p:pic>
      </p:grpSp>
      <p:grpSp>
        <p:nvGrpSpPr>
          <p:cNvPr id="27" name="intro1">
            <a:extLst>
              <a:ext uri="{FF2B5EF4-FFF2-40B4-BE49-F238E27FC236}">
                <a16:creationId xmlns:a16="http://schemas.microsoft.com/office/drawing/2014/main" id="{D2E3DC59-6017-2ECB-6E35-5822B2734EAF}"/>
              </a:ext>
            </a:extLst>
          </p:cNvPr>
          <p:cNvGrpSpPr/>
          <p:nvPr/>
        </p:nvGrpSpPr>
        <p:grpSpPr>
          <a:xfrm>
            <a:off x="12350067" y="1588"/>
            <a:ext cx="2872264" cy="6856412"/>
            <a:chOff x="12320" y="-1"/>
            <a:chExt cx="2872264" cy="6856412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F16389C-6891-ED93-1717-5F61B548C1B8}"/>
                </a:ext>
              </a:extLst>
            </p:cNvPr>
            <p:cNvSpPr/>
            <p:nvPr/>
          </p:nvSpPr>
          <p:spPr>
            <a:xfrm rot="5400000">
              <a:off x="-1979754" y="1992073"/>
              <a:ext cx="6856412" cy="2872264"/>
            </a:xfrm>
            <a:custGeom>
              <a:avLst/>
              <a:gdLst>
                <a:gd name="connsiteX0" fmla="*/ 0 w 6856412"/>
                <a:gd name="connsiteY0" fmla="*/ 2872264 h 2872264"/>
                <a:gd name="connsiteX1" fmla="*/ 0 w 6856412"/>
                <a:gd name="connsiteY1" fmla="*/ 436157 h 2872264"/>
                <a:gd name="connsiteX2" fmla="*/ 624715 w 6856412"/>
                <a:gd name="connsiteY2" fmla="*/ 436157 h 2872264"/>
                <a:gd name="connsiteX3" fmla="*/ 1120876 w 6856412"/>
                <a:gd name="connsiteY3" fmla="*/ 0 h 2872264"/>
                <a:gd name="connsiteX4" fmla="*/ 1617036 w 6856412"/>
                <a:gd name="connsiteY4" fmla="*/ 436157 h 2872264"/>
                <a:gd name="connsiteX5" fmla="*/ 6856412 w 6856412"/>
                <a:gd name="connsiteY5" fmla="*/ 436157 h 2872264"/>
                <a:gd name="connsiteX6" fmla="*/ 6856412 w 6856412"/>
                <a:gd name="connsiteY6" fmla="*/ 2872264 h 287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412" h="2872264">
                  <a:moveTo>
                    <a:pt x="0" y="2872264"/>
                  </a:moveTo>
                  <a:lnTo>
                    <a:pt x="0" y="436157"/>
                  </a:lnTo>
                  <a:lnTo>
                    <a:pt x="624715" y="436157"/>
                  </a:lnTo>
                  <a:lnTo>
                    <a:pt x="1120876" y="0"/>
                  </a:lnTo>
                  <a:lnTo>
                    <a:pt x="1617036" y="436157"/>
                  </a:lnTo>
                  <a:lnTo>
                    <a:pt x="6856412" y="436157"/>
                  </a:lnTo>
                  <a:lnTo>
                    <a:pt x="6856412" y="2872264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>
              <a:outerShdw blurRad="1270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FAEFEFA-855F-C57F-8C74-AB6DE36F456C}"/>
                </a:ext>
              </a:extLst>
            </p:cNvPr>
            <p:cNvSpPr txBox="1"/>
            <p:nvPr/>
          </p:nvSpPr>
          <p:spPr>
            <a:xfrm>
              <a:off x="420274" y="818707"/>
              <a:ext cx="1608647" cy="151628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2000" dirty="0"/>
                <a:t>Carlos is a small-scale grower in Brazil, having land of 30 Ha </a:t>
              </a:r>
            </a:p>
          </p:txBody>
        </p:sp>
        <p:pic>
          <p:nvPicPr>
            <p:cNvPr id="30" name="Picture 2" descr="Rio de Janeiro | Pop Art | Brazilian Art Brazilian Art - Pop… | Flickr">
              <a:extLst>
                <a:ext uri="{FF2B5EF4-FFF2-40B4-BE49-F238E27FC236}">
                  <a16:creationId xmlns:a16="http://schemas.microsoft.com/office/drawing/2014/main" id="{57FA256D-1915-5075-549E-29BBDC7D4D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819" y="4181327"/>
              <a:ext cx="2129027" cy="1556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952295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47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449C3A-C064-EE2F-712D-92FEB9E0B3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67ACF15C-C436-C179-4F6A-D57257300E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14372" y="12289256"/>
            <a:ext cx="12306372" cy="276587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4404C0-F8FA-704D-B974-38C9D4D1AC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E3D0E3-F7C3-A9FD-C6BF-D2CF929451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4</a:t>
            </a:fld>
            <a:endParaRPr lang="en-GB" dirty="0">
              <a:solidFill>
                <a:srgbClr val="626469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8A7EAE-A3BE-992E-8F98-6E4F5766C47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2082539">
            <a:off x="7353694" y="3316185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1B4D35-E930-3ED2-824B-E31CC1A6297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4782539">
            <a:off x="5843558" y="4484034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BD2F453-8282-9B8A-6CB5-687D1D5BD8A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7482539">
            <a:off x="3930257" y="3937771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948F78-5507-8C77-4CF8-67C50CCEFF7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11082539">
            <a:off x="3232708" y="2214165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DB6AA93-725E-3AEB-E1D8-4C1CE2ADFE7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3782539">
            <a:off x="4142736" y="516835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F9D29DB-52CC-4D50-6D4D-58952BA09AA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17382539">
            <a:off x="5985402" y="182265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A64B0CA-38E4-4A0C-5E57-A836256A686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20982539">
            <a:off x="7325445" y="1391236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71C596B-ADE1-0149-EB2E-ABF1E6F8D5CD}"/>
              </a:ext>
            </a:extLst>
          </p:cNvPr>
          <p:cNvSpPr txBox="1"/>
          <p:nvPr/>
        </p:nvSpPr>
        <p:spPr>
          <a:xfrm>
            <a:off x="5244608" y="3078118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4AC231D-E858-BE32-C941-0EACF13F5D9C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5955" t="14922" r="3726" b="1353"/>
          <a:stretch/>
        </p:blipFill>
        <p:spPr>
          <a:xfrm>
            <a:off x="-67345" y="7905892"/>
            <a:ext cx="12192000" cy="68580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6AD1C0FF-3574-EF6D-961B-6C9B7CD3F5E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679339" y="11029266"/>
            <a:ext cx="8535417" cy="3140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9429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phic 41">
            <a:extLst>
              <a:ext uri="{FF2B5EF4-FFF2-40B4-BE49-F238E27FC236}">
                <a16:creationId xmlns:a16="http://schemas.microsoft.com/office/drawing/2014/main" id="{D5E5DC8A-CB01-AA9B-8401-3AD5A4626F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14372" y="4106534"/>
            <a:ext cx="12306372" cy="276587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36E98163-8B2E-4C35-C265-D585DA25305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955" t="14922" r="3726" b="1353"/>
          <a:stretch/>
        </p:blipFill>
        <p:spPr>
          <a:xfrm>
            <a:off x="-67345" y="-276830"/>
            <a:ext cx="12192000" cy="68580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8B19E09B-334E-6D3A-05E9-1F1B79EBCE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9339" y="2846544"/>
            <a:ext cx="8535417" cy="314084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C949F4-17C4-9EBA-B56F-36EBDD5436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24888E-A758-DA30-0682-5CAD01DB95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5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E8BC3CE-B814-441C-DA71-17DB3BAA1A05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solidFill>
                  <a:schemeClr val="bg1"/>
                </a:solidFill>
                <a:latin typeface="Congenial Black" panose="020F0502020204030204" pitchFamily="2" charset="0"/>
              </a:rPr>
              <a:t>PHAS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C84B41D-0F55-834D-8A2A-1978AC1C1948}"/>
              </a:ext>
            </a:extLst>
          </p:cNvPr>
          <p:cNvSpPr txBox="1"/>
          <p:nvPr/>
        </p:nvSpPr>
        <p:spPr>
          <a:xfrm>
            <a:off x="3889015" y="1623273"/>
            <a:ext cx="624203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N" sz="2800" dirty="0">
                <a:solidFill>
                  <a:schemeClr val="bg1"/>
                </a:solidFill>
                <a:latin typeface="Couture" panose="020B0804020202020204" pitchFamily="34" charset="0"/>
              </a:rPr>
              <a:t>Following this, there are a few phases for </a:t>
            </a:r>
          </a:p>
          <a:p>
            <a:pPr algn="ctr"/>
            <a:r>
              <a:rPr lang="en-IN" sz="2800" dirty="0" err="1">
                <a:solidFill>
                  <a:schemeClr val="bg1"/>
                </a:solidFill>
                <a:latin typeface="Couture" panose="020B0804020202020204" pitchFamily="34" charset="0"/>
              </a:rPr>
              <a:t>Cropwise</a:t>
            </a:r>
            <a:r>
              <a:rPr lang="en-IN" sz="2800" dirty="0">
                <a:solidFill>
                  <a:schemeClr val="bg1"/>
                </a:solidFill>
                <a:latin typeface="Couture" panose="020B0804020202020204" pitchFamily="34" charset="0"/>
              </a:rPr>
              <a:t> Strategies for Carlos</a:t>
            </a:r>
          </a:p>
          <a:p>
            <a:pPr algn="ctr"/>
            <a:endParaRPr lang="en-US" sz="2800" dirty="0">
              <a:solidFill>
                <a:schemeClr val="bg1"/>
              </a:solidFill>
              <a:latin typeface="Couture" panose="020B0804020202020204" pitchFamily="34" charset="0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5FC88A03-D71A-A818-2239-270ED6FB698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11768987">
            <a:off x="-2824807" y="2028135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69BAC94B-E1D4-673C-DB36-94CBE21488D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4468987">
            <a:off x="-1680262" y="411797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476637E-D643-120C-07F9-E31D6F0D43F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7168987">
            <a:off x="222754" y="349248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B7A857A1-AE5F-AC00-7C6D-114D22C6158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20768987">
            <a:off x="1490832" y="1738539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945D0746-A9DB-F1F6-65C7-CDAD0A69C615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868987">
            <a:off x="1140841" y="3646674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59EF1798-E674-3CD4-F856-477296BDFF60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5468987">
            <a:off x="-499509" y="4550340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CBB3DF01-5C85-603A-FC38-AFC02A7332D1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9068987">
            <a:off x="-2282950" y="3904151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549708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0000"/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7489CE-C5C5-1653-B79D-7B7CA06318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09D31-D684-F9ED-B771-0FE4FA679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1FA79E-61EA-0991-7E58-41C87EF571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6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A6296E1-6569-4EF4-4075-8023E6D15B76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3B5279B-F3EA-82DC-CA98-9A539733B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9454" y="255535"/>
            <a:ext cx="6982680" cy="347240"/>
          </a:xfrm>
        </p:spPr>
        <p:txBody>
          <a:bodyPr/>
          <a:lstStyle/>
          <a:p>
            <a:pPr algn="ctr"/>
            <a:r>
              <a:rPr lang="en-US" sz="32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Söhne"/>
              </a:rPr>
              <a:t>Seed Selector </a:t>
            </a:r>
            <a:br>
              <a:rPr lang="en-US" sz="3200" b="0" i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Söhne"/>
              </a:rPr>
            </a:br>
            <a:r>
              <a:rPr lang="en-US" b="0" i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Söhne"/>
              </a:rPr>
              <a:t>Seeds of Success for Carlos</a:t>
            </a:r>
            <a:endParaRPr lang="en-GB" sz="32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D9CB050-0348-1299-1648-CD92D5B2D5D0}"/>
              </a:ext>
            </a:extLst>
          </p:cNvPr>
          <p:cNvGrpSpPr/>
          <p:nvPr/>
        </p:nvGrpSpPr>
        <p:grpSpPr>
          <a:xfrm>
            <a:off x="4294807" y="1540514"/>
            <a:ext cx="7665685" cy="4372395"/>
            <a:chOff x="5286066" y="566781"/>
            <a:chExt cx="5559414" cy="3251732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D360E258-108F-1366-FC00-E81533AF37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6066" y="566781"/>
              <a:ext cx="5559414" cy="3251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F890B08-BF25-4974-D16C-0D8E5628E26C}"/>
                </a:ext>
              </a:extLst>
            </p:cNvPr>
            <p:cNvSpPr txBox="1"/>
            <p:nvPr/>
          </p:nvSpPr>
          <p:spPr>
            <a:xfrm>
              <a:off x="5708274" y="1178242"/>
              <a:ext cx="705718" cy="203835"/>
            </a:xfrm>
            <a:prstGeom prst="rect">
              <a:avLst/>
            </a:prstGeom>
            <a:solidFill>
              <a:srgbClr val="00004B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1100" dirty="0">
                  <a:solidFill>
                    <a:schemeClr val="bg1"/>
                  </a:solidFill>
                </a:rPr>
                <a:t>SY Calo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1D97961-E0B0-106C-3605-9F52D8C03643}"/>
                </a:ext>
              </a:extLst>
            </p:cNvPr>
            <p:cNvSpPr txBox="1"/>
            <p:nvPr/>
          </p:nvSpPr>
          <p:spPr>
            <a:xfrm>
              <a:off x="7384490" y="1164907"/>
              <a:ext cx="796290" cy="27813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1100" dirty="0">
                  <a:latin typeface="Aptos" panose="020B0004020202020204" pitchFamily="34" charset="0"/>
                </a:rPr>
                <a:t>SY Fregat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76C6E68-0A93-F3ED-8E70-B1D7E0827BA2}"/>
                </a:ext>
              </a:extLst>
            </p:cNvPr>
            <p:cNvSpPr txBox="1"/>
            <p:nvPr/>
          </p:nvSpPr>
          <p:spPr>
            <a:xfrm>
              <a:off x="9049460" y="1167133"/>
              <a:ext cx="796290" cy="27813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1100" dirty="0">
                  <a:latin typeface="Aptos" panose="020B0004020202020204" pitchFamily="34" charset="0"/>
                </a:rPr>
                <a:t>SY Helenor</a:t>
              </a: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08C61116-B51D-3018-7F45-946BC751C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27292" y="2321129"/>
            <a:ext cx="3702397" cy="288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0966BD53-EF0E-BF1B-9902-DCFB89FE36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114372" y="-6139448"/>
            <a:ext cx="12306372" cy="27658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4073444-211E-62E2-C06A-74A04CAAE44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955" t="14922" r="3726" b="1353"/>
          <a:stretch/>
        </p:blipFill>
        <p:spPr>
          <a:xfrm>
            <a:off x="-67345" y="-10522812"/>
            <a:ext cx="12192000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C57496ED-6D04-CFDD-B19C-0440FC61BE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79339" y="-7399438"/>
            <a:ext cx="8535417" cy="314084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18ECED9-154B-0988-8447-93C23839F5A2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11768987">
            <a:off x="-2824807" y="2028135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9EE420-31DD-8F1A-9FEE-35E8C1D7B91A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4468987">
            <a:off x="-1680262" y="411797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C727096-2D8C-9DBD-482F-9DF7844AA891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7168987">
            <a:off x="222754" y="349248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07878F7-1E5A-17D9-4F39-16314F085F44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20768987">
            <a:off x="2151296" y="825011"/>
            <a:ext cx="1881254" cy="3543592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22FC273-3F28-2135-A51F-7E209CC11345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868987">
            <a:off x="1140841" y="3646674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91C233-C799-0F26-65C8-1F6DA19C7DED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5468987">
            <a:off x="-499509" y="4550340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C848FE8-DF44-EF5B-CC73-15EE2CCE722D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9068987">
            <a:off x="-2282950" y="3904151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438005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0000"/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C3302F-7F39-BBF5-4C00-8BE5B33F1E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BB5DDB2-83D4-CA8E-DC1A-F7D767FE89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0EA1A7-A756-9CC0-5E3F-8AB2ADDEB1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7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ECB9217-0E6E-C56A-333C-A7A3B5550735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6CFD3AD-6CCF-0D28-1EB7-637743BEC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9454" y="255535"/>
            <a:ext cx="6982680" cy="347240"/>
          </a:xfrm>
        </p:spPr>
        <p:txBody>
          <a:bodyPr/>
          <a:lstStyle/>
          <a:p>
            <a:pPr algn="ctr"/>
            <a:r>
              <a:rPr lang="en-US" sz="32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Söhne"/>
              </a:rPr>
              <a:t>Seed Selector </a:t>
            </a:r>
            <a:br>
              <a:rPr lang="en-US" sz="3200" b="0" i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Söhne"/>
              </a:rPr>
            </a:br>
            <a:r>
              <a:rPr lang="en-US" b="0" i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Söhne"/>
              </a:rPr>
              <a:t>Seeds of Success for Carlos</a:t>
            </a:r>
            <a:endParaRPr lang="en-GB" sz="32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BA9B9C9-9332-4DB6-A86B-D59EF985ADA2}"/>
              </a:ext>
            </a:extLst>
          </p:cNvPr>
          <p:cNvGrpSpPr/>
          <p:nvPr/>
        </p:nvGrpSpPr>
        <p:grpSpPr>
          <a:xfrm>
            <a:off x="-6439174" y="-3120893"/>
            <a:ext cx="6439174" cy="3061052"/>
            <a:chOff x="5286066" y="566781"/>
            <a:chExt cx="5559414" cy="3251732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EB7EC566-90E9-CEF3-2DDA-C0A71016D9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6066" y="566781"/>
              <a:ext cx="5559414" cy="3251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21170E3-F70C-7E03-65AD-ABC0E5968125}"/>
                </a:ext>
              </a:extLst>
            </p:cNvPr>
            <p:cNvSpPr txBox="1"/>
            <p:nvPr/>
          </p:nvSpPr>
          <p:spPr>
            <a:xfrm>
              <a:off x="5708274" y="1178242"/>
              <a:ext cx="705718" cy="203835"/>
            </a:xfrm>
            <a:prstGeom prst="rect">
              <a:avLst/>
            </a:prstGeom>
            <a:solidFill>
              <a:srgbClr val="00004B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1100" dirty="0">
                  <a:solidFill>
                    <a:schemeClr val="bg1"/>
                  </a:solidFill>
                </a:rPr>
                <a:t>SY Calo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63634D0-30D5-4F53-E5A4-F9F6660DE0E1}"/>
                </a:ext>
              </a:extLst>
            </p:cNvPr>
            <p:cNvSpPr txBox="1"/>
            <p:nvPr/>
          </p:nvSpPr>
          <p:spPr>
            <a:xfrm>
              <a:off x="7384490" y="1164907"/>
              <a:ext cx="796290" cy="27813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1100" dirty="0">
                  <a:latin typeface="Aptos" panose="020B0004020202020204" pitchFamily="34" charset="0"/>
                </a:rPr>
                <a:t>SY Fregat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37976D1-DAAC-FFCD-BD89-21424F23D5B1}"/>
                </a:ext>
              </a:extLst>
            </p:cNvPr>
            <p:cNvSpPr txBox="1"/>
            <p:nvPr/>
          </p:nvSpPr>
          <p:spPr>
            <a:xfrm>
              <a:off x="9049460" y="1167133"/>
              <a:ext cx="796290" cy="27813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en-IN" sz="1100" dirty="0">
                  <a:latin typeface="Aptos" panose="020B0004020202020204" pitchFamily="34" charset="0"/>
                </a:rPr>
                <a:t>SY Helenor</a:t>
              </a: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F8A128F7-BF4F-A8DA-ED7B-E503FC48A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047" y="872607"/>
            <a:ext cx="7417155" cy="5784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B4565E4A-E795-0291-7776-7D6261E310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114372" y="-6139448"/>
            <a:ext cx="12306372" cy="27658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3569CAB1-8834-A601-E13F-2FE368777C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955" t="14922" r="3726" b="1353"/>
          <a:stretch/>
        </p:blipFill>
        <p:spPr>
          <a:xfrm>
            <a:off x="-67345" y="-10522812"/>
            <a:ext cx="12192000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3B7EC6A2-AF54-B674-B516-A67AA82A554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79339" y="-7399438"/>
            <a:ext cx="8535417" cy="314084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2CEBB6F-8D10-80F1-610C-F34A3C29574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11768987">
            <a:off x="-2824807" y="2028135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8CF30F7-B467-333B-EAD3-C5FFC159E541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4468987">
            <a:off x="-1680262" y="411797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92F288F-5AA1-CAD3-A0E0-F2F4E17834F3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7168987">
            <a:off x="222754" y="349248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D54FDC1-6D8B-8A9F-62FE-93A2BF970143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20768987">
            <a:off x="2151296" y="825011"/>
            <a:ext cx="1881254" cy="3543592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5154F82-C6DF-6AFD-1C81-941CD282D7E5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868987">
            <a:off x="1140841" y="3646674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58E065A-A9CA-B1CC-81BC-7F527AF73B26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5468987">
            <a:off x="-499509" y="4550340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FCE3F95-1EFE-960E-74A6-9D9C6086D187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9068987">
            <a:off x="-2282950" y="3904151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469010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902A4D8-60A1-A3EE-D270-78585E1A2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7B9E7F-FB33-ADC1-0179-7A2AC4D947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BE2F0F-5572-67FA-6145-D48BD502E9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8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E43C551-CA25-D6AA-2770-30AEDA649B21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47E867F-B51F-DF76-1A56-BA3EA1FCA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14372" y="-6139448"/>
            <a:ext cx="12306372" cy="27658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EE8B5C88-9C10-0E1C-E2C7-DA0425EDFB5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955" t="14922" r="3726" b="1353"/>
          <a:stretch/>
        </p:blipFill>
        <p:spPr>
          <a:xfrm>
            <a:off x="-67345" y="-10522812"/>
            <a:ext cx="12192000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86CC120A-13FA-447E-93F6-CBB88CB096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9339" y="-7399438"/>
            <a:ext cx="8535417" cy="3140842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88BE1321-D5C4-AA8E-3BBE-AD05099807FD}"/>
              </a:ext>
            </a:extLst>
          </p:cNvPr>
          <p:cNvSpPr txBox="1">
            <a:spLocks/>
          </p:cNvSpPr>
          <p:nvPr/>
        </p:nvSpPr>
        <p:spPr>
          <a:xfrm>
            <a:off x="4523561" y="591892"/>
            <a:ext cx="6982680" cy="34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Planting</a:t>
            </a:r>
          </a:p>
          <a:p>
            <a:pPr algn="ctr"/>
            <a:r>
              <a:rPr lang="en-US" sz="2000" b="0" i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Minimizing Waste and Maximizing Yield in Every Planting</a:t>
            </a:r>
            <a:endParaRPr lang="en-IN" sz="20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2DCD0CA-150C-7FC9-7AFA-A22454294514}"/>
              </a:ext>
            </a:extLst>
          </p:cNvPr>
          <p:cNvSpPr txBox="1"/>
          <p:nvPr/>
        </p:nvSpPr>
        <p:spPr>
          <a:xfrm>
            <a:off x="4903881" y="1904711"/>
            <a:ext cx="6534998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000" b="0" i="1" dirty="0">
                <a:solidFill>
                  <a:srgbClr val="00B050"/>
                </a:solidFill>
                <a:effectLst/>
                <a:latin typeface="Söhne"/>
              </a:rPr>
              <a:t>Optimize Productivity:</a:t>
            </a:r>
            <a:r>
              <a:rPr lang="en-US" sz="2000" b="0" i="0" dirty="0">
                <a:solidFill>
                  <a:srgbClr val="00B050"/>
                </a:solidFill>
                <a:effectLst/>
                <a:latin typeface="Söhne"/>
              </a:rPr>
              <a:t> Manage field zones with precision for enhanced efficiency.</a:t>
            </a:r>
          </a:p>
          <a:p>
            <a:pPr algn="l"/>
            <a:endParaRPr lang="en-US" sz="2000" b="0" i="0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000" b="0" i="1" dirty="0">
                <a:solidFill>
                  <a:srgbClr val="00B050"/>
                </a:solidFill>
                <a:effectLst/>
                <a:latin typeface="Söhne"/>
              </a:rPr>
              <a:t>Variable Rate Technology:</a:t>
            </a:r>
            <a:r>
              <a:rPr lang="en-US" sz="2000" b="0" i="0" dirty="0">
                <a:solidFill>
                  <a:srgbClr val="00B050"/>
                </a:solidFill>
                <a:effectLst/>
                <a:latin typeface="Söhne"/>
              </a:rPr>
              <a:t> Implement data-driven strategies for tailored planting prescriptions.</a:t>
            </a:r>
          </a:p>
          <a:p>
            <a:pPr algn="l"/>
            <a:endParaRPr lang="en-US" sz="2000" b="0" i="0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000" b="0" i="1" dirty="0">
                <a:solidFill>
                  <a:srgbClr val="00B050"/>
                </a:solidFill>
                <a:effectLst/>
                <a:latin typeface="Söhne"/>
              </a:rPr>
              <a:t>Satellite Imagery Integration:</a:t>
            </a:r>
            <a:r>
              <a:rPr lang="en-US" sz="2000" b="0" i="0" dirty="0">
                <a:solidFill>
                  <a:srgbClr val="00B050"/>
                </a:solidFill>
                <a:effectLst/>
                <a:latin typeface="Söhne"/>
              </a:rPr>
              <a:t> Leverage satellite data for real-time insights into soil and crop conditions.</a:t>
            </a:r>
          </a:p>
          <a:p>
            <a:pPr algn="l"/>
            <a:endParaRPr lang="en-US" sz="2000" b="0" i="0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000" b="0" i="1" dirty="0">
                <a:solidFill>
                  <a:srgbClr val="00B050"/>
                </a:solidFill>
                <a:effectLst/>
                <a:latin typeface="Söhne"/>
              </a:rPr>
              <a:t>Resource Efficiency:</a:t>
            </a:r>
            <a:r>
              <a:rPr lang="en-US" sz="2000" b="0" i="0" dirty="0">
                <a:solidFill>
                  <a:srgbClr val="00B050"/>
                </a:solidFill>
                <a:effectLst/>
                <a:latin typeface="Söhne"/>
              </a:rPr>
              <a:t> Maximize resource use for improved sustainability and yield potential.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31236BEF-C2BF-5B01-C474-B35297850DB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2431096">
            <a:off x="1188068" y="3515568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DA9CA7F9-CA70-8570-C36E-56E9715B6E2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5131096">
            <a:off x="-433035" y="4520009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94584E9B-CCD6-D54B-1827-1B6E2568327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7831096">
            <a:off x="-2280703" y="3787450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F69FB1BE-531C-F783-EE06-C1D598B4707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11431096">
            <a:off x="-2800716" y="1998924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FA53FAA-6E9A-8CD7-91AD-4209A530F679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4131096">
            <a:off x="-1723388" y="403906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1B670831-22B4-1BAD-9F0A-696110A9093B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17731096">
            <a:off x="143679" y="257564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6DCC8950-678C-7E9A-BB6D-3A720A9F341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21331096">
            <a:off x="1946014" y="669982"/>
            <a:ext cx="2133817" cy="345301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916298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5000"/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6B6226B-04E8-9BED-4D63-B234BEC9A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CB467E6-2F29-12D2-73AF-15ECAC942F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7433B7-BA8B-A79F-B017-8957F1C87E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9</a:t>
            </a:fld>
            <a:endParaRPr lang="en-GB" noProof="0" dirty="0">
              <a:solidFill>
                <a:srgbClr val="626469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0C30981-9D1A-26CB-8740-79D9B29B3C45}"/>
              </a:ext>
            </a:extLst>
          </p:cNvPr>
          <p:cNvSpPr txBox="1"/>
          <p:nvPr/>
        </p:nvSpPr>
        <p:spPr>
          <a:xfrm>
            <a:off x="11810" y="3234103"/>
            <a:ext cx="2054942" cy="5307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dirty="0">
                <a:latin typeface="Congenial Black" panose="020F0502020204030204" pitchFamily="2" charset="0"/>
              </a:rPr>
              <a:t>PHAS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D63F18E-517A-93CC-0880-442D74DF35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14372" y="-6139448"/>
            <a:ext cx="12306372" cy="276587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56D0CA7-4296-80FD-1FEE-64BDAC8BBCF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955" t="14922" r="3726" b="1353"/>
          <a:stretch/>
        </p:blipFill>
        <p:spPr>
          <a:xfrm>
            <a:off x="-67345" y="-10522812"/>
            <a:ext cx="12192000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9C59D21-3A07-15E0-B934-7361BF9F1B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9339" y="-7399438"/>
            <a:ext cx="8535417" cy="3140842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58A1CB1B-1C7C-99EF-A33C-AC50ED68E99D}"/>
              </a:ext>
            </a:extLst>
          </p:cNvPr>
          <p:cNvSpPr txBox="1">
            <a:spLocks/>
          </p:cNvSpPr>
          <p:nvPr/>
        </p:nvSpPr>
        <p:spPr>
          <a:xfrm>
            <a:off x="4523561" y="257810"/>
            <a:ext cx="6982680" cy="34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0" i="0" u="sng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Monitoring Crop Health</a:t>
            </a:r>
          </a:p>
          <a:p>
            <a:pPr algn="ctr"/>
            <a:r>
              <a:rPr lang="en-US" sz="2000" b="0" i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Comic Sans MS" panose="030F0702030302020204" pitchFamily="66" charset="0"/>
              </a:rPr>
              <a:t>Imagery and Insights Engine's Intelligent Analytics</a:t>
            </a:r>
            <a:endParaRPr lang="en-IN" sz="20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0113C8-AA48-BF01-5228-F6DF4EBC387A}"/>
              </a:ext>
            </a:extLst>
          </p:cNvPr>
          <p:cNvSpPr txBox="1"/>
          <p:nvPr/>
        </p:nvSpPr>
        <p:spPr>
          <a:xfrm>
            <a:off x="4971243" y="1372996"/>
            <a:ext cx="6534998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Aerial Views: Capture field insights via remote satellite imagery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Plant Health Analysis: Utilize imagery for assessing and monitoring plant health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Scouting Efficiency: Identify issues promptly, allowing for timely intervention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Priority Areas: Pinpoint critical zones for targeted and effective agricultural interventions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IN" sz="2000" b="0" i="1" dirty="0">
              <a:solidFill>
                <a:srgbClr val="00B050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IN" sz="2000" b="0" i="1" dirty="0">
                <a:solidFill>
                  <a:srgbClr val="00B050"/>
                </a:solidFill>
                <a:effectLst/>
                <a:latin typeface="Söhne"/>
              </a:rPr>
              <a:t>Model-Driven Insights: Harness the power of data models within Insights Engine's architecture.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45DD6C7B-987A-E0C9-8032-BEBA6702E5B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14639269">
            <a:off x="-1817565" y="588201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304086F-5761-D5BD-4D7E-907177E35AA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7339269">
            <a:off x="158018" y="316136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F15C6BB2-55AB-2685-0690-5EECBFBE6B32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2039269">
            <a:off x="1299183" y="3567678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0E4009B-47D9-74DD-4A11-6185D8C96E9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4739269">
            <a:off x="-353097" y="4600623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E805A09-A5BD-F5D5-008E-B7B57348E186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8339269">
            <a:off x="-2123989" y="3991281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6959971B-88EB-330B-6857-5400E4053119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11939269">
            <a:off x="-2845725" y="2296175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A1D30B99-A658-A601-45EF-100DB2F12B04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20039269">
            <a:off x="2098448" y="785839"/>
            <a:ext cx="1964351" cy="3505619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335929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nform">
  <a:themeElements>
    <a:clrScheme name="Custom 18">
      <a:dk1>
        <a:srgbClr val="000000"/>
      </a:dk1>
      <a:lt1>
        <a:srgbClr val="FFFFFF"/>
      </a:lt1>
      <a:dk2>
        <a:srgbClr val="00004B"/>
      </a:dk2>
      <a:lt2>
        <a:srgbClr val="73DC78"/>
      </a:lt2>
      <a:accent1>
        <a:srgbClr val="00004B"/>
      </a:accent1>
      <a:accent2>
        <a:srgbClr val="73DC78"/>
      </a:accent2>
      <a:accent3>
        <a:srgbClr val="00E6BE"/>
      </a:accent3>
      <a:accent4>
        <a:srgbClr val="FFAA00"/>
      </a:accent4>
      <a:accent5>
        <a:srgbClr val="FF0064"/>
      </a:accent5>
      <a:accent6>
        <a:srgbClr val="999999"/>
      </a:accent6>
      <a:hlink>
        <a:srgbClr val="00004B"/>
      </a:hlink>
      <a:folHlink>
        <a:srgbClr val="73DC78"/>
      </a:folHlink>
    </a:clrScheme>
    <a:fontScheme name="Syngen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marL="228600" indent="-228600" algn="l">
          <a:spcBef>
            <a:spcPts val="600"/>
          </a:spcBef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Dark Blue">
      <a:srgbClr val="23BAB0"/>
    </a:custClr>
    <a:custClr name="Dark Green">
      <a:srgbClr val="57B524"/>
    </a:custClr>
    <a:custClr name="Dark Orange">
      <a:srgbClr val="ED773B"/>
    </a:custClr>
    <a:custClr name="Dark Red">
      <a:srgbClr val="D62F7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Light Blue">
      <a:srgbClr val="9DFCDE"/>
    </a:custClr>
    <a:custClr name="Light Green">
      <a:srgbClr val="7DFA98"/>
    </a:custClr>
    <a:custClr name="Light Orange">
      <a:srgbClr val="FCA2A2"/>
    </a:custClr>
    <a:custClr name="Light Red">
      <a:srgbClr val="FF96C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Syngenta Group Master Template EN_20210430.pptx" id="{08D4730A-12F2-486A-9C5F-247A3490C8D0}" vid="{E4EFFEF8-BF07-4975-BD9B-CAB62FF79E7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DC9FC07497CC49A6452B10A6E7479E" ma:contentTypeVersion="13" ma:contentTypeDescription="Create a new document." ma:contentTypeScope="" ma:versionID="cff14f5ab9f498da29f21a94b3b68e3b">
  <xsd:schema xmlns:xsd="http://www.w3.org/2001/XMLSchema" xmlns:xs="http://www.w3.org/2001/XMLSchema" xmlns:p="http://schemas.microsoft.com/office/2006/metadata/properties" xmlns:ns2="b16497be-eb9f-4fc2-b1b1-2d3b9639a1d8" xmlns:ns3="417a22f4-32ec-41f0-aaa6-ee843b6497f4" targetNamespace="http://schemas.microsoft.com/office/2006/metadata/properties" ma:root="true" ma:fieldsID="445186845e78e4895c7a4ca915012190" ns2:_="" ns3:_="">
    <xsd:import namespace="b16497be-eb9f-4fc2-b1b1-2d3b9639a1d8"/>
    <xsd:import namespace="417a22f4-32ec-41f0-aaa6-ee843b6497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6497be-eb9f-4fc2-b1b1-2d3b9639a1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a62b72aa-f2ad-421f-b636-7f0f87e2f2b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a22f4-32ec-41f0-aaa6-ee843b6497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aee75bb-3999-4b5b-8dbe-b3e0fc6e156a}" ma:internalName="TaxCatchAll" ma:showField="CatchAllData" ma:web="417a22f4-32ec-41f0-aaa6-ee843b6497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16497be-eb9f-4fc2-b1b1-2d3b9639a1d8">
      <Terms xmlns="http://schemas.microsoft.com/office/infopath/2007/PartnerControls"/>
    </lcf76f155ced4ddcb4097134ff3c332f>
    <TaxCatchAll xmlns="417a22f4-32ec-41f0-aaa6-ee843b6497f4" xsi:nil="true"/>
    <SharedWithUsers xmlns="417a22f4-32ec-41f0-aaa6-ee843b6497f4">
      <UserInfo>
        <DisplayName>Fraga João BRBH</DisplayName>
        <AccountId>337</AccountId>
        <AccountType/>
      </UserInfo>
      <UserInfo>
        <DisplayName>Robles Angel Celia GBJH</DisplayName>
        <AccountId>338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C01286-A67A-48ED-A9EE-80EC3B62E95A}">
  <ds:schemaRefs>
    <ds:schemaRef ds:uri="417a22f4-32ec-41f0-aaa6-ee843b6497f4"/>
    <ds:schemaRef ds:uri="b16497be-eb9f-4fc2-b1b1-2d3b9639a1d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DC7DC9A-D2D8-4277-BCC7-BDDC97EEE71D}">
  <ds:schemaRefs>
    <ds:schemaRef ds:uri="417a22f4-32ec-41f0-aaa6-ee843b6497f4"/>
    <ds:schemaRef ds:uri="b16497be-eb9f-4fc2-b1b1-2d3b9639a1d8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098080A-974B-4D58-8B09-7B6EF8C02F4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yngenta-Master_16-9</Template>
  <TotalTime>952</TotalTime>
  <Words>745</Words>
  <Application>Microsoft Office PowerPoint</Application>
  <PresentationFormat>Widescreen</PresentationFormat>
  <Paragraphs>141</Paragraphs>
  <Slides>17</Slides>
  <Notes>4</Notes>
  <HiddenSlides>0</HiddenSlides>
  <MMClips>2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ptos</vt:lpstr>
      <vt:lpstr>Arial</vt:lpstr>
      <vt:lpstr>Calibri</vt:lpstr>
      <vt:lpstr>Comic Sans MS</vt:lpstr>
      <vt:lpstr>Congenial Black</vt:lpstr>
      <vt:lpstr>Couture</vt:lpstr>
      <vt:lpstr>Söhne</vt:lpstr>
      <vt:lpstr>Wingdings</vt:lpstr>
      <vt:lpstr>1_Inform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ed Selector  Seeds of Success for Carlos</vt:lpstr>
      <vt:lpstr>Seed Selector  Seeds of Success for Carlo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 short reel  for real this time….</vt:lpstr>
      <vt:lpstr>Thank You</vt:lpstr>
    </vt:vector>
  </TitlesOfParts>
  <Company>Syngen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liams David CHBS</dc:creator>
  <cp:lastModifiedBy>Kevin  Jose</cp:lastModifiedBy>
  <cp:revision>23</cp:revision>
  <cp:lastPrinted>2019-02-08T11:18:26Z</cp:lastPrinted>
  <dcterms:created xsi:type="dcterms:W3CDTF">2019-02-08T08:38:08Z</dcterms:created>
  <dcterms:modified xsi:type="dcterms:W3CDTF">2024-02-22T17:2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DC9FC07497CC49A6452B10A6E7479E</vt:lpwstr>
  </property>
  <property fmtid="{D5CDD505-2E9C-101B-9397-08002B2CF9AE}" pid="3" name="Order">
    <vt:lpwstr>48900.0000000000</vt:lpwstr>
  </property>
  <property fmtid="{D5CDD505-2E9C-101B-9397-08002B2CF9AE}" pid="4" name="xd_ProgID">
    <vt:lpwstr/>
  </property>
  <property fmtid="{D5CDD505-2E9C-101B-9397-08002B2CF9AE}" pid="5" name="MediaServiceImageTags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  <property fmtid="{D5CDD505-2E9C-101B-9397-08002B2CF9AE}" pid="12" name="xd_Signature">
    <vt:lpwstr/>
  </property>
  <property fmtid="{D5CDD505-2E9C-101B-9397-08002B2CF9AE}" pid="13" name="SharedWithUsers">
    <vt:lpwstr>337;#Fraga João BRBH;#338;#Robles Angel Celia GBJH</vt:lpwstr>
  </property>
</Properties>
</file>